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157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71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8.xml" ContentType="application/vnd.openxmlformats-officedocument.theme+xml"/>
  <Override PartName="/ppt/tableStyles.xml" ContentType="application/vnd.openxmlformats-officedocument.presentationml.tableStyles+xml"/>
  <Override PartName="/ppt/slideLayouts/slideLayout102.xml" ContentType="application/vnd.openxmlformats-officedocument.presentationml.slideLayout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Layouts/slideLayout198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0.xml" ContentType="application/vnd.openxmlformats-officedocument.theme+xml"/>
  <Override PartName="/ppt/slideLayouts/slideLayout187.xml" ContentType="application/vnd.openxmlformats-officedocument.presentationml.slideLayout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ags/tag5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90.xml" ContentType="application/vnd.openxmlformats-officedocument.presentationml.slideLayout+xml"/>
  <Override PartName="/ppt/presentation.xml" ContentType="application/vnd.openxmlformats-officedocument.presentationml.presentation.main+xml"/>
  <Override PartName="/ppt/slideMasters/slideMaster16.xml" ContentType="application/vnd.openxmlformats-officedocument.presentationml.slideMaster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15.xml" ContentType="application/vnd.openxmlformats-officedocument.theme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211.xml" ContentType="application/vnd.openxmlformats-officedocument.presentationml.slideLayout+xml"/>
  <Override PartName="/ppt/notesSlides/notesSlide4.xml" ContentType="application/vnd.openxmlformats-officedocument.presentationml.notesSlide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Masters/slideMaster17.xml" ContentType="application/vnd.openxmlformats-officedocument.presentationml.slideMaster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6.xml" ContentType="application/vnd.openxmlformats-officedocument.theme+xml"/>
  <Override PartName="/ppt/slideMasters/slideMaster13.xml" ContentType="application/vnd.openxmlformats-officedocument.presentationml.slideMaster+xml"/>
  <Override PartName="/ppt/slideLayouts/slideLayout100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Masters/slideMaster6.xml" ContentType="application/vnd.openxmlformats-officedocument.presentationml.slideMaster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theme/theme12.xml" ContentType="application/vnd.openxmlformats-officedocument.theme+xml"/>
  <Override PartName="/ppt/slideLayouts/slideLayout189.xml" ContentType="application/vnd.openxmlformats-officedocument.presentationml.slideLayou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85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Masters/slideMaster18.xml" ContentType="application/vnd.openxmlformats-officedocument.presentationml.slideMaster+xml"/>
  <Default Extension="jpeg" ContentType="image/jpeg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ags/tag3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Masters/slideMaster14.xml" ContentType="application/vnd.openxmlformats-officedocument.presentationml.slideMaster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17.xml" ContentType="application/vnd.openxmlformats-officedocument.theme+xml"/>
  <Override PartName="/ppt/slideLayouts/slideLayout206.xml" ContentType="application/vnd.openxmlformats-officedocument.presentationml.slideLayout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heme/theme9.xml" ContentType="application/vnd.openxmlformats-officedocument.theme+xml"/>
  <Override PartName="/ppt/theme/theme13.xml" ContentType="application/vnd.openxmlformats-officedocument.theme+xml"/>
  <Override PartName="/ppt/slideLayouts/slideLayout179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s/slide8.xml" ContentType="application/vnd.openxmlformats-officedocument.presentationml.slide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Masters/slideMaster15.xml" ContentType="application/vnd.openxmlformats-officedocument.presentationml.slideMaster+xml"/>
  <Override PartName="/ppt/slides/slide10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14.xml" ContentType="application/vnd.openxmlformats-officedocument.theme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94.xml" ContentType="application/vnd.openxmlformats-officedocument.presentationml.slideLayout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9.xml" ContentType="application/vnd.openxmlformats-officedocument.theme+xml"/>
  <Override PartName="/ppt/tags/tag1.xml" ContentType="application/vnd.openxmlformats-officedocument.presentationml.tags+xml"/>
  <Override PartName="/ppt/slideLayouts/slideLayout50.xml" ContentType="application/vnd.openxmlformats-officedocument.presentationml.slideLayout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Layouts/slideLayout99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slideLayouts/slideLayout177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3651" r:id="rId2"/>
    <p:sldMasterId id="2147483659" r:id="rId3"/>
    <p:sldMasterId id="2147483661" r:id="rId4"/>
    <p:sldMasterId id="2147483663" r:id="rId5"/>
    <p:sldMasterId id="2147485382" r:id="rId6"/>
    <p:sldMasterId id="2147485395" r:id="rId7"/>
    <p:sldMasterId id="2147485408" r:id="rId8"/>
    <p:sldMasterId id="2147485421" r:id="rId9"/>
    <p:sldMasterId id="2147485435" r:id="rId10"/>
    <p:sldMasterId id="2147485450" r:id="rId11"/>
    <p:sldMasterId id="2147485463" r:id="rId12"/>
    <p:sldMasterId id="2147485476" r:id="rId13"/>
    <p:sldMasterId id="2147485489" r:id="rId14"/>
    <p:sldMasterId id="2147485502" r:id="rId15"/>
    <p:sldMasterId id="2147485515" r:id="rId16"/>
    <p:sldMasterId id="2147485528" r:id="rId17"/>
    <p:sldMasterId id="2147485541" r:id="rId18"/>
  </p:sldMasterIdLst>
  <p:notesMasterIdLst>
    <p:notesMasterId r:id="rId35"/>
  </p:notesMasterIdLst>
  <p:sldIdLst>
    <p:sldId id="1349" r:id="rId19"/>
    <p:sldId id="1354" r:id="rId20"/>
    <p:sldId id="1375" r:id="rId21"/>
    <p:sldId id="1377" r:id="rId22"/>
    <p:sldId id="1322" r:id="rId23"/>
    <p:sldId id="1378" r:id="rId24"/>
    <p:sldId id="1379" r:id="rId25"/>
    <p:sldId id="1363" r:id="rId26"/>
    <p:sldId id="1365" r:id="rId27"/>
    <p:sldId id="1323" r:id="rId28"/>
    <p:sldId id="1325" r:id="rId29"/>
    <p:sldId id="1355" r:id="rId30"/>
    <p:sldId id="1373" r:id="rId31"/>
    <p:sldId id="1380" r:id="rId32"/>
    <p:sldId id="1381" r:id="rId33"/>
    <p:sldId id="1374" r:id="rId34"/>
  </p:sldIdLst>
  <p:sldSz cx="9144000" cy="6858000" type="screen4x3"/>
  <p:notesSz cx="6797675" cy="992663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91D5D"/>
    <a:srgbClr val="002774"/>
    <a:srgbClr val="000000"/>
    <a:srgbClr val="B9FFE4"/>
    <a:srgbClr val="DC8240"/>
    <a:srgbClr val="C0AACE"/>
    <a:srgbClr val="9773AE"/>
    <a:srgbClr val="4596D1"/>
    <a:srgbClr val="99FF99"/>
  </p:clrMru>
</p:presentationPr>
</file>

<file path=ppt/tableStyles.xml><?xml version="1.0" encoding="utf-8"?>
<a:tblStyleLst xmlns:a="http://schemas.openxmlformats.org/drawingml/2006/main" def="{5C22544A-7EE6-4342-B048-85BDC9FD1C3A}"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16D9F66E-5EB9-4882-86FB-DCBF35E3C3E4}" styleName="Средний стиль 4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Светлый стиль 1 -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8A107856-5554-42FB-B03E-39F5DBC370BA}" styleName="Средний стиль 4 -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Средний стиль 4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8034E78-7F5D-4C2E-B375-FC64B27BC917}" styleName="Темный стиль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21350" autoAdjust="0"/>
    <p:restoredTop sz="97816" autoAdjust="0"/>
  </p:normalViewPr>
  <p:slideViewPr>
    <p:cSldViewPr snapToGrid="0">
      <p:cViewPr>
        <p:scale>
          <a:sx n="100" d="100"/>
          <a:sy n="100" d="100"/>
        </p:scale>
        <p:origin x="6" y="-30"/>
      </p:cViewPr>
      <p:guideLst>
        <p:guide orient="horz" pos="1824"/>
        <p:guide pos="274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-3984" y="-96"/>
      </p:cViewPr>
      <p:guideLst>
        <p:guide orient="horz" pos="3127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8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3.xml"/><Relationship Id="rId34" Type="http://schemas.openxmlformats.org/officeDocument/2006/relationships/slide" Target="slides/slide16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7.xml"/><Relationship Id="rId33" Type="http://schemas.openxmlformats.org/officeDocument/2006/relationships/slide" Target="slides/slide15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2.xml"/><Relationship Id="rId29" Type="http://schemas.openxmlformats.org/officeDocument/2006/relationships/slide" Target="slides/slide1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6.xml"/><Relationship Id="rId32" Type="http://schemas.openxmlformats.org/officeDocument/2006/relationships/slide" Target="slides/slide14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5.xml"/><Relationship Id="rId28" Type="http://schemas.openxmlformats.org/officeDocument/2006/relationships/slide" Target="slides/slide10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31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4.xml"/><Relationship Id="rId27" Type="http://schemas.openxmlformats.org/officeDocument/2006/relationships/slide" Target="slides/slide9.xml"/><Relationship Id="rId30" Type="http://schemas.openxmlformats.org/officeDocument/2006/relationships/slide" Target="slides/slide12.xml"/><Relationship Id="rId35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0" tIns="45736" rIns="91470" bIns="45736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0" tIns="45736" rIns="91470" bIns="45736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09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5710"/>
            <a:ext cx="5438775" cy="4466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0" tIns="45736" rIns="91470" bIns="4573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242"/>
            <a:ext cx="2946400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0" tIns="45736" rIns="91470" bIns="45736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242"/>
            <a:ext cx="2946400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70" tIns="45736" rIns="91470" bIns="45736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FDDC5EEC-32FA-40AE-A34D-5BD781521FB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4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D0FBA73-F465-497A-843F-48DB9D062F4C}" type="slidenum">
              <a:rPr lang="ru-RU" smtClean="0">
                <a:cs typeface="Arial" charset="0"/>
              </a:rPr>
              <a:pPr/>
              <a:t>1</a:t>
            </a:fld>
            <a:endParaRPr lang="ru-RU" dirty="0" smtClean="0">
              <a:cs typeface="Arial" charset="0"/>
            </a:endParaRPr>
          </a:p>
        </p:txBody>
      </p:sp>
      <p:sp>
        <p:nvSpPr>
          <p:cNvPr id="1300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00075" y="942975"/>
            <a:ext cx="5918200" cy="4438650"/>
          </a:xfrm>
          <a:ln/>
        </p:spPr>
      </p:sp>
      <p:sp>
        <p:nvSpPr>
          <p:cNvPr id="1300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1091" y="5783646"/>
            <a:ext cx="5874010" cy="3631151"/>
          </a:xfrm>
          <a:noFill/>
          <a:ln/>
        </p:spPr>
        <p:txBody>
          <a:bodyPr/>
          <a:lstStyle/>
          <a:p>
            <a:pPr eaLnBrk="1" hangingPunct="1"/>
            <a:endParaRPr lang="ru-RU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7AABE9-98B3-4DC2-8C84-A7F2F032869D}" type="slidenum">
              <a:rPr lang="ru-RU" smtClean="0"/>
              <a:pPr/>
              <a:t>10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7AABE9-98B3-4DC2-8C84-A7F2F032869D}" type="slidenum">
              <a:rPr lang="ru-RU" smtClean="0"/>
              <a:pPr/>
              <a:t>11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7AABE9-98B3-4DC2-8C84-A7F2F032869D}" type="slidenum">
              <a:rPr lang="ru-RU" smtClean="0"/>
              <a:pPr/>
              <a:t>12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hyperlink" Target="http://www.rosatom.ru/" TargetMode="Externa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osatom.ru/" TargetMode="External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4" Type="http://schemas.openxmlformats.org/officeDocument/2006/relationships/hyperlink" Target="http://www.rosatom.ru/" TargetMode="Externa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 userDrawn="1"/>
        </p:nvSpPr>
        <p:spPr bwMode="auto">
          <a:xfrm>
            <a:off x="2152650" y="1484313"/>
            <a:ext cx="6991350" cy="27463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ru-RU" sz="12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CD56D3-4437-4ADE-A907-1F24508FC5B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AA9A80-777B-4B59-B90E-1834E0FC038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0DB7E6-1AE4-48F1-ADCA-ACAD0802CBD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FF0BBF-E5B3-4EA9-A93D-8F140A8A3A8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ADAC1E-2B7A-4897-9FEB-F4345548E3C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9" y="77790"/>
            <a:ext cx="8207375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2CF544-20AE-4262-BBE5-C8B69B95C3B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 userDrawn="1"/>
        </p:nvSpPr>
        <p:spPr bwMode="auto">
          <a:xfrm>
            <a:off x="2152650" y="1484313"/>
            <a:ext cx="6991350" cy="27463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ru-RU" sz="1200">
              <a:solidFill>
                <a:schemeClr val="bg1"/>
              </a:solidFill>
              <a:cs typeface="+mn-cs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2613" y="2181237"/>
            <a:ext cx="7866062" cy="1223963"/>
          </a:xfrm>
          <a:ln/>
          <a:effectLst/>
        </p:spPr>
        <p:txBody>
          <a:bodyPr/>
          <a:lstStyle>
            <a:lvl1pPr>
              <a:defRPr sz="3400">
                <a:solidFill>
                  <a:schemeClr val="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B4CA48-7EA2-4B67-83DE-1855EFD591C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9295FE-8531-4F80-9D23-E304D679B57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40BF35-C2CF-4070-AA23-DAD68AFC965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9CADEC-8106-4C2B-8154-D8D51834362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393C27-A555-4BEC-993B-3FA44EB9AA5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5" descr="log2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3A8B73-5EF8-49EF-B1B4-94F7007DDD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5" descr="log2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8300DA-3E66-4C14-B401-E968C5A0B8E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6C7D2C-4145-4C86-B9CE-0F2E5085C2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6AA5A3-5C6A-4CCA-8124-3CD4F04C2CC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DB475F-C0E2-4A73-B94C-0A20020586F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7030D0-9F53-4810-8248-AC04B712121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9" y="77790"/>
            <a:ext cx="8207375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12294D-0B34-4F07-8161-7DE4D937D24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ФЦЯРБ_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Documents and Settings\SchetininaDS\Рабочий стол\ЛОГО\RosAtom_logo_rus.jpg"/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41338" y="117475"/>
            <a:ext cx="1362075" cy="169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Заголовок 1"/>
          <p:cNvSpPr>
            <a:spLocks noGrp="1"/>
          </p:cNvSpPr>
          <p:nvPr>
            <p:ph type="ctrTitle"/>
          </p:nvPr>
        </p:nvSpPr>
        <p:spPr>
          <a:xfrm>
            <a:off x="900120" y="2276488"/>
            <a:ext cx="6478587" cy="693281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3400" b="1" baseline="0">
                <a:solidFill>
                  <a:srgbClr val="025EA1"/>
                </a:solidFill>
                <a:latin typeface="Calibri" pitchFamily="34" charset="0"/>
              </a:defRPr>
            </a:lvl1pPr>
          </a:lstStyle>
          <a:p>
            <a:pPr lvl="0"/>
            <a:r>
              <a:rPr lang="ru-RU" noProof="0" dirty="0" smtClean="0"/>
              <a:t>Образец заголовка</a:t>
            </a:r>
            <a:endParaRPr lang="ru-RU" noProof="0" dirty="0"/>
          </a:p>
        </p:txBody>
      </p:sp>
      <p:sp>
        <p:nvSpPr>
          <p:cNvPr id="2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919617" y="4200072"/>
            <a:ext cx="4181932" cy="659954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 algn="just" defTabSz="957816" rtl="0" eaLnBrk="1" latinLnBrk="0" hangingPunct="1">
              <a:spcBef>
                <a:spcPct val="0"/>
              </a:spcBef>
              <a:buNone/>
              <a:defRPr lang="ru-RU" sz="2600" b="1" kern="1200" baseline="0" smtClean="0">
                <a:solidFill>
                  <a:srgbClr val="4596D1"/>
                </a:solidFill>
                <a:latin typeface="Calibri" pitchFamily="34" charset="0"/>
                <a:ea typeface="+mj-ea"/>
                <a:cs typeface="+mj-cs"/>
              </a:defRPr>
            </a:lvl1pPr>
            <a:lvl2pPr marL="478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578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367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156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94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73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523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312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noProof="0" dirty="0" smtClean="0"/>
              <a:t>Образец подзаголовка</a:t>
            </a:r>
          </a:p>
        </p:txBody>
      </p:sp>
      <p:sp>
        <p:nvSpPr>
          <p:cNvPr id="26" name="Текст 10"/>
          <p:cNvSpPr>
            <a:spLocks noGrp="1"/>
          </p:cNvSpPr>
          <p:nvPr>
            <p:ph type="body" sz="quarter" idx="10"/>
          </p:nvPr>
        </p:nvSpPr>
        <p:spPr>
          <a:xfrm>
            <a:off x="919617" y="5075477"/>
            <a:ext cx="3550329" cy="802839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 algn="just" defTabSz="957816" rtl="0" eaLnBrk="1" latinLnBrk="0" hangingPunct="1">
              <a:spcBef>
                <a:spcPct val="0"/>
              </a:spcBef>
              <a:buFont typeface="Arial" pitchFamily="34" charset="0"/>
              <a:buNone/>
              <a:defRPr lang="ru-RU" sz="1700" b="1" kern="1200" baseline="0" dirty="0" smtClean="0">
                <a:solidFill>
                  <a:srgbClr val="4596D1"/>
                </a:solidFill>
                <a:latin typeface="Calibri" pitchFamily="34" charset="0"/>
                <a:ea typeface="+mj-ea"/>
                <a:cs typeface="+mj-cs"/>
              </a:defRPr>
            </a:lvl1pPr>
            <a:lvl2pPr marL="0" indent="0" algn="just" defTabSz="957816" rtl="0" eaLnBrk="1" latinLnBrk="0" hangingPunct="1">
              <a:spcBef>
                <a:spcPct val="0"/>
              </a:spcBef>
              <a:buFont typeface="Arial" pitchFamily="34" charset="0"/>
              <a:buNone/>
              <a:defRPr lang="ru-RU" sz="2600" b="1" kern="1200" baseline="0" dirty="0" smtClean="0">
                <a:solidFill>
                  <a:srgbClr val="4596D1"/>
                </a:solidFill>
                <a:latin typeface="Calibri" pitchFamily="34" charset="0"/>
                <a:ea typeface="+mj-ea"/>
                <a:cs typeface="+mj-cs"/>
              </a:defRPr>
            </a:lvl2pPr>
            <a:lvl3pPr marL="0" indent="0" algn="just" defTabSz="957816" rtl="0" eaLnBrk="1" latinLnBrk="0" hangingPunct="1">
              <a:spcBef>
                <a:spcPct val="0"/>
              </a:spcBef>
              <a:buFont typeface="Arial" pitchFamily="34" charset="0"/>
              <a:buNone/>
              <a:defRPr lang="ru-RU" sz="2600" b="1" kern="1200" baseline="0" dirty="0" smtClean="0">
                <a:solidFill>
                  <a:srgbClr val="4596D1"/>
                </a:solidFill>
                <a:latin typeface="Calibri" pitchFamily="34" charset="0"/>
                <a:ea typeface="+mj-ea"/>
                <a:cs typeface="+mj-cs"/>
              </a:defRPr>
            </a:lvl3pPr>
            <a:lvl4pPr marL="0" indent="0" algn="just" defTabSz="957816" rtl="0" eaLnBrk="1" latinLnBrk="0" hangingPunct="1">
              <a:spcBef>
                <a:spcPct val="0"/>
              </a:spcBef>
              <a:buFont typeface="Arial" pitchFamily="34" charset="0"/>
              <a:buNone/>
              <a:defRPr lang="ru-RU" sz="2600" b="1" kern="1200" baseline="0" dirty="0" smtClean="0">
                <a:solidFill>
                  <a:srgbClr val="4596D1"/>
                </a:solidFill>
                <a:latin typeface="Calibri" pitchFamily="34" charset="0"/>
                <a:ea typeface="+mj-ea"/>
                <a:cs typeface="+mj-cs"/>
              </a:defRPr>
            </a:lvl4pPr>
            <a:lvl5pPr marL="0" indent="0" algn="just" defTabSz="957816" rtl="0" eaLnBrk="1" latinLnBrk="0" hangingPunct="1">
              <a:spcBef>
                <a:spcPct val="0"/>
              </a:spcBef>
              <a:buFont typeface="Arial" pitchFamily="34" charset="0"/>
              <a:buNone/>
              <a:defRPr lang="ru-RU" sz="2600" b="1" kern="1200" baseline="0" dirty="0" smtClean="0">
                <a:solidFill>
                  <a:srgbClr val="4596D1"/>
                </a:solidFill>
                <a:latin typeface="Calibri" pitchFamily="34" charset="0"/>
                <a:ea typeface="+mj-ea"/>
                <a:cs typeface="+mj-cs"/>
              </a:defRPr>
            </a:lvl5pPr>
          </a:lstStyle>
          <a:p>
            <a:pPr lvl="0"/>
            <a:r>
              <a:rPr lang="ru-RU" noProof="0" dirty="0" smtClean="0"/>
              <a:t>Образец текста</a:t>
            </a:r>
          </a:p>
          <a:p>
            <a:pPr lvl="1"/>
            <a:r>
              <a:rPr lang="ru-RU" noProof="0" dirty="0" smtClean="0"/>
              <a:t>Второй уровень</a:t>
            </a:r>
          </a:p>
        </p:txBody>
      </p:sp>
    </p:spTree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 userDrawn="1"/>
        </p:nvSpPr>
        <p:spPr bwMode="auto">
          <a:xfrm>
            <a:off x="2152650" y="1484313"/>
            <a:ext cx="6991350" cy="27463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ru-RU" sz="12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9" y="77790"/>
            <a:ext cx="8207375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CB76CA-B5E9-4C64-9EDD-040D13F079E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4"/>
          <p:cNvCxnSpPr/>
          <p:nvPr userDrawn="1"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DA7581-FF17-4667-A35A-BA23481ED6F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57D71C-1DAB-46C1-85D0-F15E0AD8E5B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257952-7697-4CA4-AD7F-BC22EBE8713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6E6117-677C-455F-AD8F-87DC23F0AEA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5" descr="log2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4"/>
          <p:cNvCxnSpPr/>
          <p:nvPr userDrawn="1"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721CFA-27CE-45BA-8965-9547428738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824FC1-C6C3-4058-A62C-EA9DE728F76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55B340-DC31-44C2-BA81-A5F5AD5C7CF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11AD3B-3F32-4229-B22E-A2732DBF065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5B3052-2C78-4CC1-A104-76701110361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33637B-FDEC-4B59-B789-3821AA4C91F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850" y="293688"/>
            <a:ext cx="1674813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82613" y="2181237"/>
            <a:ext cx="7866062" cy="1223963"/>
          </a:xfrm>
          <a:ln/>
          <a:effectLst/>
        </p:spPr>
        <p:txBody>
          <a:bodyPr/>
          <a:lstStyle>
            <a:lvl1pPr>
              <a:defRPr sz="3400">
                <a:solidFill>
                  <a:schemeClr val="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9" y="3644903"/>
            <a:ext cx="6688137" cy="1008063"/>
          </a:xfrm>
        </p:spPr>
        <p:txBody>
          <a:bodyPr anchor="ctr"/>
          <a:lstStyle>
            <a:lvl1pPr marL="0" indent="0">
              <a:buFontTx/>
              <a:buNone/>
              <a:defRPr sz="28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9" y="77790"/>
            <a:ext cx="8207375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8AD928-081B-4694-951D-F30517CAE18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 userDrawn="1"/>
        </p:nvSpPr>
        <p:spPr bwMode="auto">
          <a:xfrm>
            <a:off x="2152650" y="1484313"/>
            <a:ext cx="6991350" cy="27463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ru-RU" sz="12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FD3C87-26A1-450E-B7C9-FCD5A513C99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5D10D1-8112-4C62-BA6D-6B58A6A8AF0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72082E-A863-4A40-AFA7-CC65B4B498E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08E136-2034-434C-B03E-03D1B8222B8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5" descr="log2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4"/>
          <p:cNvCxnSpPr/>
          <p:nvPr userDrawn="1"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3471E4-83AD-4155-8BE5-043D5396F18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390E26-DD7B-46EC-BC95-C7504EF5207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C27917-5588-48C8-A125-DB29837861A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435051-D6A2-4156-A17A-8C7CF4CF374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865B08-BF9F-44CD-A412-44DE6DACDA2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2ACF6C-1345-41C9-817B-86DE7BDB2D9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1E5428-7BC2-433A-9963-327C35C8F72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9" y="77790"/>
            <a:ext cx="8207375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693521-F0C8-4F2A-BE53-75D15AACD4F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 userDrawn="1"/>
        </p:nvSpPr>
        <p:spPr bwMode="auto">
          <a:xfrm>
            <a:off x="2152650" y="1484313"/>
            <a:ext cx="6991350" cy="27463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ru-RU" sz="12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4"/>
          <p:cNvCxnSpPr/>
          <p:nvPr userDrawn="1"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FDE75C-9266-4CC1-A865-CCBC62435C7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68D633-15E7-444F-8C29-64071236D46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EA5037-EB13-40F4-984A-7B152FFA15C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603760-CA42-42D5-A4DD-E8AA0F833FF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5" descr="log2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4"/>
          <p:cNvCxnSpPr/>
          <p:nvPr userDrawn="1"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EE800C-5B6B-4B54-B23C-E172ED33A8A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64DF1F-F260-449A-AE0A-6A47A9765BC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3E1C07-28FA-40D4-8840-6D08AC2FEDA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DC2337-1E49-4003-8EFE-6FACF918583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E464FC-8386-4CD0-BDCD-092D1199073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5AEA49-8B7D-4205-A07B-E1BC4C3B6FA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D878D7-2D77-4670-AB20-A921BC3DEAA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9" y="77790"/>
            <a:ext cx="8207375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1FD41D-D7F4-4D48-86F7-ABB72D31073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 userDrawn="1"/>
        </p:nvSpPr>
        <p:spPr bwMode="auto">
          <a:xfrm>
            <a:off x="2152650" y="1484313"/>
            <a:ext cx="6991350" cy="27463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ru-RU" sz="12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4"/>
          <p:cNvCxnSpPr/>
          <p:nvPr userDrawn="1"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FC5327-6246-4D81-BE2B-348CFFACDE9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5966A5-5115-4730-8611-3517FC893C0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C0FDD5-F2AE-4581-9DE9-87974560402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A600AD-526B-407F-BD03-C6BE95A75BB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13CD0D-A6D6-45B2-ADE0-E4698A180F3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5" descr="log2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4"/>
          <p:cNvCxnSpPr/>
          <p:nvPr userDrawn="1"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C27923-6B29-4563-9F89-44898C0AFC8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758046-BD72-4B86-8311-C341EC1AA0E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C6F406-128B-4208-8A9F-78370049470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31FAF7-B1EB-4EF3-B8E9-304825DE09E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47B6DC-CECF-4E44-82F7-8AD36315612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0213A0-573A-4145-89E1-4E3D4CC91BA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9" y="77790"/>
            <a:ext cx="8207375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20A05F-4F13-4381-A7DD-09BA899D3F4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 userDrawn="1"/>
        </p:nvSpPr>
        <p:spPr bwMode="auto">
          <a:xfrm>
            <a:off x="2152650" y="1484313"/>
            <a:ext cx="6991350" cy="27463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ru-RU" sz="12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0B8275-6303-4171-9E8C-0F1B7EF8B51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36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  <p:transition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  <p:transition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40" y="77795"/>
            <a:ext cx="8207375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8336" y="1557338"/>
            <a:ext cx="4027487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 userDrawn="1"/>
        </p:nvSpPr>
        <p:spPr bwMode="auto">
          <a:xfrm>
            <a:off x="2152650" y="1484313"/>
            <a:ext cx="6991350" cy="27463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ru-RU" sz="12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D6ACA0-770E-4FD4-8BE6-BDE0DB50AB9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4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31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  <p:transition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  <p:transition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4BE95C-4B55-44CD-8170-F571A1F21CE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35" y="77795"/>
            <a:ext cx="8207375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8331" y="1557338"/>
            <a:ext cx="4027487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 userDrawn="1"/>
        </p:nvSpPr>
        <p:spPr bwMode="auto">
          <a:xfrm>
            <a:off x="2152650" y="1484313"/>
            <a:ext cx="6991350" cy="27463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ru-RU" sz="12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F8A0445-F674-45BE-A65B-FA3519E5A59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9658CA-9CF8-494E-B375-CDB6C46E5A9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CB50CE-1E18-44A3-8EBD-751A6067B3C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2C141C-089C-4158-800F-A8E06DA2638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5" descr="log2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4"/>
          <p:cNvCxnSpPr/>
          <p:nvPr userDrawn="1"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5490BC-8D15-4C6F-81FF-9AA0B6F7A73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5319CE-49E4-48BE-A175-BEAA65E89EE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93DB55-5BC9-496D-A615-CC7E576AF46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11225B-5F2E-45A5-8B7A-8FFA8553575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4"/>
          <p:cNvCxnSpPr/>
          <p:nvPr userDrawn="1"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2D3246-3D2F-424B-BE17-63D0B45F22A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ACB021-E8FB-4468-BC12-A93E4FF6ACD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2EEA76-57EB-4A5A-A957-3A5ADF00788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3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9DC715-18AD-4EC7-AC65-2763BFFEF8B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77788"/>
            <a:ext cx="8207375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8313" y="1557338"/>
            <a:ext cx="4027487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8FC55E-56EB-42DC-82C6-6BDB8E96F56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 userDrawn="1"/>
        </p:nvSpPr>
        <p:spPr bwMode="auto">
          <a:xfrm>
            <a:off x="2152650" y="1484313"/>
            <a:ext cx="6991350" cy="27463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ru-RU" sz="1200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4"/>
          <p:cNvCxnSpPr/>
          <p:nvPr userDrawn="1"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1BD3F2-065C-4924-940B-0DB57F26471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DB222A-4A14-426F-B4FA-D16C63F0365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8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6582F3-60B4-4278-A8D4-0FC0BD15B38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B19FDB-4C7D-4251-B3BB-5A6F4E67B30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5" descr="log2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4"/>
          <p:cNvCxnSpPr/>
          <p:nvPr userDrawn="1"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070E8D-3216-40EF-AD26-ECDC851FC0A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624258-0391-4A2A-ADD4-20CAD22AF53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057A6D-4CD3-4183-9479-0B75009CAC4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192F35-7C58-4D1B-AE21-4DBC6BF663F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99D2EC-A15F-49DD-B4A0-5341A832C53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9CC866-2D10-4CD0-B083-031F82CE9A2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A740C3-1A2E-422E-B2DE-5447960FCCB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8" y="77790"/>
            <a:ext cx="8207375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8318" y="1557338"/>
            <a:ext cx="4027487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FCE770-A324-427A-82E0-4DDF8235094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831402-F7FD-48FF-AFD5-C809C9D68E1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820B53-4A4D-4867-B25F-F85CAD0D7E8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9985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tvel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sp>
        <p:nvSpPr>
          <p:cNvPr id="6" name="navigation1"/>
          <p:cNvSpPr>
            <a:spLocks noChangeArrowheads="1"/>
          </p:cNvSpPr>
          <p:nvPr userDrawn="1"/>
        </p:nvSpPr>
        <p:spPr bwMode="auto">
          <a:xfrm>
            <a:off x="6143625" y="1076325"/>
            <a:ext cx="360363" cy="360363"/>
          </a:xfrm>
          <a:prstGeom prst="ellipse">
            <a:avLst/>
          </a:prstGeom>
          <a:noFill/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" name="navigation2"/>
          <p:cNvSpPr>
            <a:spLocks noChangeArrowheads="1"/>
          </p:cNvSpPr>
          <p:nvPr userDrawn="1"/>
        </p:nvSpPr>
        <p:spPr bwMode="auto">
          <a:xfrm>
            <a:off x="6581775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8" name="navigation3"/>
          <p:cNvSpPr>
            <a:spLocks noChangeArrowheads="1"/>
          </p:cNvSpPr>
          <p:nvPr userDrawn="1"/>
        </p:nvSpPr>
        <p:spPr bwMode="auto">
          <a:xfrm>
            <a:off x="7019925" y="1076325"/>
            <a:ext cx="360363" cy="360363"/>
          </a:xfrm>
          <a:prstGeom prst="ellipse">
            <a:avLst/>
          </a:prstGeom>
          <a:solidFill>
            <a:schemeClr val="bg1"/>
          </a:solidFill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chemeClr val="hlink"/>
                </a:solidFill>
              </a:rPr>
              <a:t>3</a:t>
            </a:r>
          </a:p>
        </p:txBody>
      </p:sp>
      <p:sp>
        <p:nvSpPr>
          <p:cNvPr id="28674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91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286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91" y="2455863"/>
            <a:ext cx="7723187" cy="2139950"/>
          </a:xfrm>
        </p:spPr>
        <p:txBody>
          <a:bodyPr/>
          <a:lstStyle>
            <a:lvl1pPr>
              <a:lnSpc>
                <a:spcPct val="120000"/>
              </a:lnSpc>
              <a:defRPr sz="3400"/>
            </a:lvl1pPr>
          </a:lstStyle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50F42E-485C-47B0-802F-CED682FB2AF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3FD2B3-3F12-4E8D-B3A7-C0B18BC36DD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9807C8-F0A5-4AC0-8DAA-A3AA2D0B66C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25EDF7-9A0D-4966-80B0-0C8F05DBA34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9BD695-A041-46EC-BC1F-976164790FD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EF25A0-E2E7-440B-8C9F-1EA4FAA497D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BA54DD-B932-493F-9225-4153C8BDB8C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A54D88-D9F3-46CB-8965-6BDFDF1E249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402A79-BE9D-4160-98AF-224FDD25316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32DC09-1D58-4A55-8E7F-81E9F6C2FF4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A81E63-F81D-450B-8369-596F794E5E2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2">
            <a:hlinkClick r:id="rId3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9985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tvel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sp>
        <p:nvSpPr>
          <p:cNvPr id="5" name="navigation1"/>
          <p:cNvSpPr>
            <a:spLocks noChangeArrowheads="1"/>
          </p:cNvSpPr>
          <p:nvPr userDrawn="1"/>
        </p:nvSpPr>
        <p:spPr bwMode="auto">
          <a:xfrm>
            <a:off x="6143625" y="1076325"/>
            <a:ext cx="360363" cy="360363"/>
          </a:xfrm>
          <a:prstGeom prst="ellipse">
            <a:avLst/>
          </a:prstGeom>
          <a:solidFill>
            <a:schemeClr val="bg1"/>
          </a:solidFill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chemeClr val="hlink"/>
                </a:solidFill>
              </a:rPr>
              <a:t>1</a:t>
            </a:r>
          </a:p>
        </p:txBody>
      </p:sp>
      <p:sp>
        <p:nvSpPr>
          <p:cNvPr id="6" name="navigation2"/>
          <p:cNvSpPr>
            <a:spLocks noChangeArrowheads="1"/>
          </p:cNvSpPr>
          <p:nvPr userDrawn="1"/>
        </p:nvSpPr>
        <p:spPr bwMode="auto">
          <a:xfrm>
            <a:off x="6581775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7" name="navigation3"/>
          <p:cNvSpPr>
            <a:spLocks noChangeArrowheads="1"/>
          </p:cNvSpPr>
          <p:nvPr userDrawn="1"/>
        </p:nvSpPr>
        <p:spPr bwMode="auto">
          <a:xfrm>
            <a:off x="7019925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8" name="navigation8" descr="ujkm,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77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91" y="2455863"/>
            <a:ext cx="7723187" cy="2139950"/>
          </a:xfrm>
        </p:spPr>
        <p:txBody>
          <a:bodyPr/>
          <a:lstStyle>
            <a:lvl1pPr>
              <a:lnSpc>
                <a:spcPct val="120000"/>
              </a:lnSpc>
              <a:defRPr sz="3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277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611191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D94BEB-0A5B-4937-8997-969D14E3B27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9D9F3E-86E9-40FC-BFAC-7BFDB83C6D0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CFD13C-43EB-4268-B3DA-195C874F572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5750F8-A43C-4BED-8376-EFD6C3E72D5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DAA4A6-9589-4576-BD06-379E09FCCF2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8A2B0C-3EDF-48F3-8FD0-11E2C6E5921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856A96-9953-4409-86B7-5ECAEE25C45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82C379-CCD7-45C0-A4A5-FC1DF8DE226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0B6CFB-E036-4F23-ADD3-360946F44B1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B661F4-4241-4363-A253-91B2DE7E4F6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761BBA-ABF9-4818-9CB4-F46A1429AD9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4013" y="511175"/>
            <a:ext cx="1392237" cy="1231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5">
            <a:hlinkClick r:id="rId4"/>
          </p:cNvPr>
          <p:cNvSpPr txBox="1">
            <a:spLocks noChangeArrowheads="1"/>
          </p:cNvSpPr>
          <p:nvPr userDrawn="1"/>
        </p:nvSpPr>
        <p:spPr bwMode="auto">
          <a:xfrm>
            <a:off x="612775" y="5554663"/>
            <a:ext cx="998538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tvel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sp>
        <p:nvSpPr>
          <p:cNvPr id="6" name="navigation1"/>
          <p:cNvSpPr>
            <a:spLocks noChangeArrowheads="1"/>
          </p:cNvSpPr>
          <p:nvPr userDrawn="1"/>
        </p:nvSpPr>
        <p:spPr bwMode="auto">
          <a:xfrm>
            <a:off x="6143625" y="1076325"/>
            <a:ext cx="360363" cy="360363"/>
          </a:xfrm>
          <a:prstGeom prst="ellipse">
            <a:avLst/>
          </a:prstGeom>
          <a:noFill/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" name="navigation2"/>
          <p:cNvSpPr>
            <a:spLocks noChangeArrowheads="1"/>
          </p:cNvSpPr>
          <p:nvPr userDrawn="1"/>
        </p:nvSpPr>
        <p:spPr bwMode="auto">
          <a:xfrm>
            <a:off x="6581775" y="1076325"/>
            <a:ext cx="360363" cy="360363"/>
          </a:xfrm>
          <a:prstGeom prst="ellipse">
            <a:avLst/>
          </a:prstGeom>
          <a:solidFill>
            <a:schemeClr val="bg1"/>
          </a:solidFill>
          <a:ln w="28575" algn="ctr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chemeClr val="hlink"/>
                </a:solidFill>
              </a:rPr>
              <a:t>2</a:t>
            </a:r>
          </a:p>
        </p:txBody>
      </p:sp>
      <p:sp>
        <p:nvSpPr>
          <p:cNvPr id="8" name="navigation3"/>
          <p:cNvSpPr>
            <a:spLocks noChangeArrowheads="1"/>
          </p:cNvSpPr>
          <p:nvPr userDrawn="1"/>
        </p:nvSpPr>
        <p:spPr bwMode="auto">
          <a:xfrm>
            <a:off x="7019925" y="1076325"/>
            <a:ext cx="360363" cy="360363"/>
          </a:xfrm>
          <a:prstGeom prst="ellipse">
            <a:avLst/>
          </a:prstGeom>
          <a:noFill/>
          <a:ln w="28575">
            <a:noFill/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34818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611191" y="4652963"/>
            <a:ext cx="7723187" cy="360362"/>
          </a:xfrm>
        </p:spPr>
        <p:txBody>
          <a:bodyPr anchor="ctr"/>
          <a:lstStyle>
            <a:lvl1pPr marL="0" indent="0">
              <a:buFontTx/>
              <a:buNone/>
              <a:defRPr sz="2200"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91" y="2455863"/>
            <a:ext cx="7723187" cy="2139950"/>
          </a:xfrm>
        </p:spPr>
        <p:txBody>
          <a:bodyPr/>
          <a:lstStyle>
            <a:lvl1pPr>
              <a:lnSpc>
                <a:spcPct val="120000"/>
              </a:lnSpc>
              <a:defRPr sz="3400"/>
            </a:lvl1pPr>
          </a:lstStyle>
          <a:p>
            <a:r>
              <a:rPr lang="ru-RU"/>
              <a:t>Образец заголовка</a:t>
            </a:r>
          </a:p>
        </p:txBody>
      </p:sp>
    </p:spTree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CAE140-B6CC-4EDB-8870-87C67D854D7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5387EE-91BD-45C9-AE77-43ED00793A3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BDB3DA-24AA-474C-9ABA-A968225245C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49FE15-DB78-4581-B965-9EBF7929A64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91772D-3995-4EFD-B21C-6AAC46C6EA8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B86F05-5561-4E1B-981A-5887B7F6C96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B14628-532C-4F57-97E6-EA542010166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2F86E1-BDEE-408C-9A9A-95CCA175ABE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C3DC44-303C-474C-A242-DCDC4CE34E8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05B0AB-5E20-461A-9134-3D636F2E5E6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C4BDC2-882E-4BD8-8DE9-B843CF3455A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 userDrawn="1"/>
        </p:nvSpPr>
        <p:spPr bwMode="auto">
          <a:xfrm>
            <a:off x="2152650" y="1484313"/>
            <a:ext cx="6991350" cy="27463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ru-RU" sz="12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035DB0-91DA-4B33-93A9-70A6026EF0B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C96A11-D789-4043-9428-03DCB17D8AA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5" descr="log2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4"/>
          <p:cNvCxnSpPr/>
          <p:nvPr userDrawn="1"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4AE215-4D00-4216-B4F7-B592A622EE8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9AA87D-82FE-4A4F-8802-6E185D45953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37A52D-B6E8-4DED-AB37-E7149F73329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5" descr="log2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EB5410-B0E8-429C-9515-94BA11D9BD7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2"/>
          <p:cNvCxnSpPr/>
          <p:nvPr userDrawn="1"/>
        </p:nvCxnSpPr>
        <p:spPr>
          <a:xfrm>
            <a:off x="0" y="100012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F52D30-BDE3-4D18-A27F-7376F5E4949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257873-E3B9-4267-A471-E234CBD2922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7F7A48-6686-4E87-8ECC-8A123BC0F6A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D45BFC-726F-4DA1-AA25-2DA05A15E77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74EEC7-6E2B-4DA8-9063-E9D73C69506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9" y="77790"/>
            <a:ext cx="8207375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3A9D44-6D6B-495C-9729-566C82CA280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 userDrawn="1"/>
        </p:nvSpPr>
        <p:spPr bwMode="auto">
          <a:xfrm>
            <a:off x="2152650" y="1484313"/>
            <a:ext cx="6991350" cy="27463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ru-RU" sz="1200">
              <a:solidFill>
                <a:schemeClr val="bg1"/>
              </a:solidFill>
              <a:latin typeface="Arial" pitchFamily="34" charset="0"/>
              <a:cs typeface="+mn-cs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A79128-DB53-480B-B09F-291FB703968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5CE3D0-B083-4C6E-A4B3-681DA8F3ED6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699FFA-1DEA-44AA-A508-C586B68AD2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1C59FB-2878-4EDB-BD54-FFE30C69217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778AC3-65D0-4CBE-A1E6-4B4FAB84733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5" descr="log2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8EBB7B-3EC3-4153-89D4-E80CB400C80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Прямая соединительная линия 1"/>
          <p:cNvCxnSpPr/>
          <p:nvPr userDrawn="1"/>
        </p:nvCxnSpPr>
        <p:spPr>
          <a:xfrm>
            <a:off x="0" y="100012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7C0FFB-8EF4-47D3-B468-3F83429B964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F96813A-B3DB-49AA-A97E-3AC692C7CAA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F36C9C-FECC-4DBF-9532-802C2AEE52C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D455A9-0D4F-4C34-B433-E0753725AE8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D78A2B-C280-4909-A66D-E4CAD7295C5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4B648D-1C6C-4250-AE5B-16CDC9D7346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9" y="77790"/>
            <a:ext cx="8207375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844155-C0B6-4EB8-98DC-6B279867171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 userDrawn="1"/>
        </p:nvSpPr>
        <p:spPr bwMode="auto">
          <a:xfrm>
            <a:off x="2152650" y="1484313"/>
            <a:ext cx="6991350" cy="27463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ru-RU" sz="1200" dirty="0">
              <a:solidFill>
                <a:schemeClr val="bg1"/>
              </a:solidFill>
              <a:cs typeface="+mn-cs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84A299-0172-4B81-86F0-16E94E72F1D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8BC86B-8697-4491-8B41-D4568DAF4CC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E1FDB5-73E1-475D-A845-045D059638F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A0F030-8592-4F0B-983F-AF45EBD6B88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5" descr="log2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4"/>
          <p:cNvCxnSpPr/>
          <p:nvPr userDrawn="1"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C3F54A-5416-4C8F-B739-0859454CD72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1FD791-C1E1-406F-8931-A88098BC19C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22CCCB-8E4E-46EC-99FD-4CDC39A5986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A79898-AA71-4228-BADF-6224557BC4F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FD9F01-6BC8-4451-9BBF-D0A984CD856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626209-EB0B-448D-BDAF-B0ACB114702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4638" y="77788"/>
            <a:ext cx="2051050" cy="60071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68318" y="77788"/>
            <a:ext cx="6003925" cy="60071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2B7A96-25C9-4335-AC3D-BA1A834A109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9" y="77790"/>
            <a:ext cx="8207375" cy="903287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2C5018-74BE-47BC-BBFB-D5DACF8EFDD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 userDrawn="1"/>
        </p:nvSpPr>
        <p:spPr bwMode="auto">
          <a:xfrm>
            <a:off x="2152650" y="1484313"/>
            <a:ext cx="6991350" cy="274637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ru-RU" sz="1200" dirty="0">
              <a:solidFill>
                <a:schemeClr val="bg1"/>
              </a:solidFill>
              <a:latin typeface="Arial" pitchFamily="34" charset="0"/>
              <a:cs typeface="+mn-cs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82613" y="3789363"/>
            <a:ext cx="6653212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4"/>
          <p:cNvCxnSpPr/>
          <p:nvPr userDrawn="1"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C858B1-3580-4E29-8981-027AF7FB4C2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B39935-A054-4E69-8073-CB926EBCC5B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9" y="1557338"/>
            <a:ext cx="4027487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557338"/>
            <a:ext cx="4027488" cy="45275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7577F6-7EEF-45AE-9E8F-DC37C28D4C1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1A4007-2620-4CF5-BDEF-E5422343760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5" descr="log2.JPG"/>
          <p:cNvPicPr>
            <a:picLocks noChangeAspect="1"/>
          </p:cNvPicPr>
          <p:nvPr userDrawn="1"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" name="Прямая соединительная линия 4"/>
          <p:cNvCxnSpPr/>
          <p:nvPr userDrawn="1"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238A83-31AC-4786-BDCE-4202998F3FB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7105A1-E376-4BCF-8F8B-1AC29B4ACC3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hyperlink" Target="http://www.rosatom.ru/" TargetMode="Externa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hyperlink" Target="http://www.rosatom.ru/" TargetMode="External"/><Relationship Id="rId2" Type="http://schemas.openxmlformats.org/officeDocument/2006/relationships/slideLayout" Target="../slideLayouts/slideLayout106.xml"/><Relationship Id="rId16" Type="http://schemas.openxmlformats.org/officeDocument/2006/relationships/image" Target="../media/image7.jpeg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114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20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hyperlink" Target="http://www.rosatom.ru/" TargetMode="Externa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3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3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hyperlink" Target="http://www.rosatom.ru/" TargetMode="Externa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4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4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47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hyperlink" Target="http://www.rosatom.ru/" TargetMode="Externa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2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61.xml"/><Relationship Id="rId12" Type="http://schemas.openxmlformats.org/officeDocument/2006/relationships/slideLayout" Target="../slideLayouts/slideLayout166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56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5" Type="http://schemas.openxmlformats.org/officeDocument/2006/relationships/slideLayout" Target="../slideLayouts/slideLayout159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64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hyperlink" Target="http://www.rosatom.ru/" TargetMode="Externa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2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76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image" Target="../media/image2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6.xml"/><Relationship Id="rId13" Type="http://schemas.openxmlformats.org/officeDocument/2006/relationships/theme" Target="../theme/theme16.xml"/><Relationship Id="rId3" Type="http://schemas.openxmlformats.org/officeDocument/2006/relationships/slideLayout" Target="../slideLayouts/slideLayout181.xml"/><Relationship Id="rId7" Type="http://schemas.openxmlformats.org/officeDocument/2006/relationships/slideLayout" Target="../slideLayouts/slideLayout185.xml"/><Relationship Id="rId12" Type="http://schemas.openxmlformats.org/officeDocument/2006/relationships/slideLayout" Target="../slideLayouts/slideLayout190.xml"/><Relationship Id="rId2" Type="http://schemas.openxmlformats.org/officeDocument/2006/relationships/slideLayout" Target="../slideLayouts/slideLayout180.xml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89.xml"/><Relationship Id="rId5" Type="http://schemas.openxmlformats.org/officeDocument/2006/relationships/slideLayout" Target="../slideLayouts/slideLayout183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88.xml"/><Relationship Id="rId4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7.xml"/><Relationship Id="rId14" Type="http://schemas.openxmlformats.org/officeDocument/2006/relationships/image" Target="../media/image2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8.xml"/><Relationship Id="rId13" Type="http://schemas.openxmlformats.org/officeDocument/2006/relationships/theme" Target="../theme/theme17.xml"/><Relationship Id="rId3" Type="http://schemas.openxmlformats.org/officeDocument/2006/relationships/slideLayout" Target="../slideLayouts/slideLayout193.xml"/><Relationship Id="rId7" Type="http://schemas.openxmlformats.org/officeDocument/2006/relationships/slideLayout" Target="../slideLayouts/slideLayout197.xml"/><Relationship Id="rId12" Type="http://schemas.openxmlformats.org/officeDocument/2006/relationships/slideLayout" Target="../slideLayouts/slideLayout202.xml"/><Relationship Id="rId2" Type="http://schemas.openxmlformats.org/officeDocument/2006/relationships/slideLayout" Target="../slideLayouts/slideLayout19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11" Type="http://schemas.openxmlformats.org/officeDocument/2006/relationships/slideLayout" Target="../slideLayouts/slideLayout201.xml"/><Relationship Id="rId5" Type="http://schemas.openxmlformats.org/officeDocument/2006/relationships/slideLayout" Target="../slideLayouts/slideLayout19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00.xml"/><Relationship Id="rId4" Type="http://schemas.openxmlformats.org/officeDocument/2006/relationships/slideLayout" Target="../slideLayouts/slideLayout194.xml"/><Relationship Id="rId9" Type="http://schemas.openxmlformats.org/officeDocument/2006/relationships/slideLayout" Target="../slideLayouts/slideLayout199.xml"/><Relationship Id="rId14" Type="http://schemas.openxmlformats.org/officeDocument/2006/relationships/hyperlink" Target="http://www.rosatom.ru/" TargetMode="Externa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205.xml"/><Relationship Id="rId7" Type="http://schemas.openxmlformats.org/officeDocument/2006/relationships/slideLayout" Target="../slideLayouts/slideLayout209.xml"/><Relationship Id="rId12" Type="http://schemas.openxmlformats.org/officeDocument/2006/relationships/slideLayout" Target="../slideLayouts/slideLayout214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0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203.xml"/><Relationship Id="rId6" Type="http://schemas.openxmlformats.org/officeDocument/2006/relationships/slideLayout" Target="../slideLayouts/slideLayout208.xml"/><Relationship Id="rId11" Type="http://schemas.openxmlformats.org/officeDocument/2006/relationships/slideLayout" Target="../slideLayouts/slideLayout213.xml"/><Relationship Id="rId5" Type="http://schemas.openxmlformats.org/officeDocument/2006/relationships/slideLayout" Target="../slideLayouts/slideLayout207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12.xml"/><Relationship Id="rId4" Type="http://schemas.openxmlformats.org/officeDocument/2006/relationships/slideLayout" Target="../slideLayouts/slideLayout206.xml"/><Relationship Id="rId9" Type="http://schemas.openxmlformats.org/officeDocument/2006/relationships/slideLayout" Target="../slideLayouts/slideLayout211.xml"/><Relationship Id="rId14" Type="http://schemas.openxmlformats.org/officeDocument/2006/relationships/hyperlink" Target="http://www.rosatom.ru/" TargetMode="Externa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hyperlink" Target="http://www.rosatom.ru/" TargetMode="Externa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hyperlink" Target="http://www.rosatom.ru/" TargetMode="Externa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hyperlink" Target="http://www.rosatom.ru/" TargetMode="Externa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7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hyperlink" Target="http://www.rosatom.ru/" TargetMode="Externa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58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hyperlink" Target="http://www.rosatom.ru/" TargetMode="Externa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70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hyperlink" Target="http://www.rosatom.ru/" TargetMode="Externa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8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hyperlink" Target="http://www.rosatom.ru/" TargetMode="Externa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94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hyperlink" Target="http://www.rosatom.ru/" TargetMode="Externa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8E0F5764-6B8F-4895-884F-1D1EB7639FE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3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9985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tvel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7175" name="Рисунок 5" descr="log2.JPG"/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1111" r:id="rId1"/>
    <p:sldLayoutId id="2147491112" r:id="rId2"/>
    <p:sldLayoutId id="2147490938" r:id="rId3"/>
    <p:sldLayoutId id="2147490939" r:id="rId4"/>
    <p:sldLayoutId id="2147490940" r:id="rId5"/>
    <p:sldLayoutId id="2147491113" r:id="rId6"/>
    <p:sldLayoutId id="2147490941" r:id="rId7"/>
    <p:sldLayoutId id="2147490942" r:id="rId8"/>
    <p:sldLayoutId id="2147490943" r:id="rId9"/>
    <p:sldLayoutId id="2147490944" r:id="rId10"/>
    <p:sldLayoutId id="2147490945" r:id="rId11"/>
    <p:sldLayoutId id="2147490946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6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7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F8CB16D-03AC-40B5-8586-4081C2D071E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3" name="Text Box 5">
            <a:hlinkClick r:id="rId17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9985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</a:rPr>
              <a:t>www.tvel.ru</a:t>
            </a:r>
            <a:endParaRPr lang="ru-RU" sz="1400" b="1">
              <a:solidFill>
                <a:schemeClr val="hlink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1129" r:id="rId1"/>
    <p:sldLayoutId id="2147491024" r:id="rId2"/>
    <p:sldLayoutId id="2147491025" r:id="rId3"/>
    <p:sldLayoutId id="2147491026" r:id="rId4"/>
    <p:sldLayoutId id="2147491027" r:id="rId5"/>
    <p:sldLayoutId id="2147491130" r:id="rId6"/>
    <p:sldLayoutId id="2147491131" r:id="rId7"/>
    <p:sldLayoutId id="2147491028" r:id="rId8"/>
    <p:sldLayoutId id="2147491029" r:id="rId9"/>
    <p:sldLayoutId id="2147491030" r:id="rId10"/>
    <p:sldLayoutId id="2147491031" r:id="rId11"/>
    <p:sldLayoutId id="2147491032" r:id="rId12"/>
    <p:sldLayoutId id="2147491132" r:id="rId13"/>
    <p:sldLayoutId id="2147491133" r:id="rId1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8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9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9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F92FC40C-8AC7-44CA-8617-536358135B7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3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9985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rgbClr val="003274"/>
                </a:solidFill>
              </a:rPr>
              <a:t>www.tvel.ru</a:t>
            </a:r>
            <a:endParaRPr lang="ru-RU" sz="1400" b="1" dirty="0">
              <a:solidFill>
                <a:srgbClr val="003274"/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17415" name="Рисунок 5" descr="log2.JPG"/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1134" r:id="rId1"/>
    <p:sldLayoutId id="2147491135" r:id="rId2"/>
    <p:sldLayoutId id="2147491033" r:id="rId3"/>
    <p:sldLayoutId id="2147491034" r:id="rId4"/>
    <p:sldLayoutId id="2147491035" r:id="rId5"/>
    <p:sldLayoutId id="2147491136" r:id="rId6"/>
    <p:sldLayoutId id="2147491036" r:id="rId7"/>
    <p:sldLayoutId id="2147491037" r:id="rId8"/>
    <p:sldLayoutId id="2147491038" r:id="rId9"/>
    <p:sldLayoutId id="2147491039" r:id="rId10"/>
    <p:sldLayoutId id="2147491040" r:id="rId11"/>
    <p:sldLayoutId id="2147491041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6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7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05DED04-6131-4E83-AF64-C8EBE7D60D3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3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9985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rgbClr val="003274"/>
                </a:solidFill>
              </a:rPr>
              <a:t>www.tvel.ru</a:t>
            </a:r>
            <a:endParaRPr lang="ru-RU" sz="1400" b="1" dirty="0">
              <a:solidFill>
                <a:srgbClr val="003274"/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18439" name="Рисунок 5" descr="log2.JPG"/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1137" r:id="rId1"/>
    <p:sldLayoutId id="2147491042" r:id="rId2"/>
    <p:sldLayoutId id="2147491043" r:id="rId3"/>
    <p:sldLayoutId id="2147491044" r:id="rId4"/>
    <p:sldLayoutId id="2147491045" r:id="rId5"/>
    <p:sldLayoutId id="2147491138" r:id="rId6"/>
    <p:sldLayoutId id="2147491046" r:id="rId7"/>
    <p:sldLayoutId id="2147491047" r:id="rId8"/>
    <p:sldLayoutId id="2147491048" r:id="rId9"/>
    <p:sldLayoutId id="2147491049" r:id="rId10"/>
    <p:sldLayoutId id="2147491050" r:id="rId11"/>
    <p:sldLayoutId id="2147491051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6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7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F3992AA0-2F2B-479B-B587-11EFB84CD5F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3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9985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rgbClr val="003274"/>
                </a:solidFill>
              </a:rPr>
              <a:t>www.tvel.ru</a:t>
            </a:r>
            <a:endParaRPr lang="ru-RU" sz="1400" b="1" dirty="0">
              <a:solidFill>
                <a:srgbClr val="003274"/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19463" name="Рисунок 5" descr="log2.JPG"/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1139" r:id="rId1"/>
    <p:sldLayoutId id="2147491140" r:id="rId2"/>
    <p:sldLayoutId id="2147491052" r:id="rId3"/>
    <p:sldLayoutId id="2147491053" r:id="rId4"/>
    <p:sldLayoutId id="2147491054" r:id="rId5"/>
    <p:sldLayoutId id="2147491141" r:id="rId6"/>
    <p:sldLayoutId id="2147491055" r:id="rId7"/>
    <p:sldLayoutId id="2147491056" r:id="rId8"/>
    <p:sldLayoutId id="2147491057" r:id="rId9"/>
    <p:sldLayoutId id="2147491058" r:id="rId10"/>
    <p:sldLayoutId id="2147491059" r:id="rId11"/>
    <p:sldLayoutId id="2147491060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6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7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FF2C8CB-9819-4542-9816-D3E15AB8884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3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9985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rgbClr val="003274"/>
                </a:solidFill>
              </a:rPr>
              <a:t>www.tvel.ru</a:t>
            </a:r>
            <a:endParaRPr lang="ru-RU" sz="1400" b="1" dirty="0">
              <a:solidFill>
                <a:srgbClr val="003274"/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20487" name="Рисунок 5" descr="log2.JPG"/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1142" r:id="rId1"/>
    <p:sldLayoutId id="2147491143" r:id="rId2"/>
    <p:sldLayoutId id="2147491061" r:id="rId3"/>
    <p:sldLayoutId id="2147491062" r:id="rId4"/>
    <p:sldLayoutId id="2147491063" r:id="rId5"/>
    <p:sldLayoutId id="2147491144" r:id="rId6"/>
    <p:sldLayoutId id="2147491064" r:id="rId7"/>
    <p:sldLayoutId id="2147491065" r:id="rId8"/>
    <p:sldLayoutId id="2147491066" r:id="rId9"/>
    <p:sldLayoutId id="2147491067" r:id="rId10"/>
    <p:sldLayoutId id="2147491068" r:id="rId11"/>
    <p:sldLayoutId id="2147491069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6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7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91145" r:id="rId1"/>
    <p:sldLayoutId id="2147491070" r:id="rId2"/>
    <p:sldLayoutId id="2147491071" r:id="rId3"/>
    <p:sldLayoutId id="2147491072" r:id="rId4"/>
    <p:sldLayoutId id="2147491073" r:id="rId5"/>
    <p:sldLayoutId id="2147491074" r:id="rId6"/>
    <p:sldLayoutId id="2147491075" r:id="rId7"/>
    <p:sldLayoutId id="2147491076" r:id="rId8"/>
    <p:sldLayoutId id="2147491077" r:id="rId9"/>
    <p:sldLayoutId id="2147491078" r:id="rId10"/>
    <p:sldLayoutId id="2147491079" r:id="rId11"/>
    <p:sldLayoutId id="2147491080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4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5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91146" r:id="rId1"/>
    <p:sldLayoutId id="2147491081" r:id="rId2"/>
    <p:sldLayoutId id="2147491082" r:id="rId3"/>
    <p:sldLayoutId id="2147491083" r:id="rId4"/>
    <p:sldLayoutId id="2147491084" r:id="rId5"/>
    <p:sldLayoutId id="2147491085" r:id="rId6"/>
    <p:sldLayoutId id="2147491086" r:id="rId7"/>
    <p:sldLayoutId id="2147491087" r:id="rId8"/>
    <p:sldLayoutId id="2147491088" r:id="rId9"/>
    <p:sldLayoutId id="2147491089" r:id="rId10"/>
    <p:sldLayoutId id="2147491090" r:id="rId11"/>
    <p:sldLayoutId id="2147491091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4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5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5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2139AB2C-A8D6-453B-A533-CD6A667E9CC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3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995362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tvel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91147" r:id="rId1"/>
    <p:sldLayoutId id="2147491092" r:id="rId2"/>
    <p:sldLayoutId id="2147491093" r:id="rId3"/>
    <p:sldLayoutId id="2147491094" r:id="rId4"/>
    <p:sldLayoutId id="2147491095" r:id="rId5"/>
    <p:sldLayoutId id="2147491148" r:id="rId6"/>
    <p:sldLayoutId id="2147491096" r:id="rId7"/>
    <p:sldLayoutId id="2147491097" r:id="rId8"/>
    <p:sldLayoutId id="2147491098" r:id="rId9"/>
    <p:sldLayoutId id="2147491099" r:id="rId10"/>
    <p:sldLayoutId id="2147491100" r:id="rId11"/>
    <p:sldLayoutId id="2147491101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5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6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4663379D-2819-4202-8205-B45769F0E78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3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9985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rgbClr val="003274"/>
                </a:solidFill>
                <a:latin typeface="Arial" pitchFamily="34" charset="0"/>
                <a:cs typeface="Arial" pitchFamily="34" charset="0"/>
              </a:rPr>
              <a:t>www.tvel.ru</a:t>
            </a:r>
            <a:endParaRPr lang="ru-RU" sz="1400" b="1" dirty="0">
              <a:solidFill>
                <a:srgbClr val="003274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24583" name="Рисунок 5" descr="log2.JPG"/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1149" r:id="rId1"/>
    <p:sldLayoutId id="2147491150" r:id="rId2"/>
    <p:sldLayoutId id="2147491102" r:id="rId3"/>
    <p:sldLayoutId id="2147491103" r:id="rId4"/>
    <p:sldLayoutId id="2147491104" r:id="rId5"/>
    <p:sldLayoutId id="2147491151" r:id="rId6"/>
    <p:sldLayoutId id="2147491105" r:id="rId7"/>
    <p:sldLayoutId id="2147491106" r:id="rId8"/>
    <p:sldLayoutId id="2147491107" r:id="rId9"/>
    <p:sldLayoutId id="2147491108" r:id="rId10"/>
    <p:sldLayoutId id="2147491109" r:id="rId11"/>
    <p:sldLayoutId id="2147491110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6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7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527E8A5E-BC6D-450F-9365-591014C3D17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9221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9985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tvel.ru</a:t>
            </a:r>
            <a:endParaRPr lang="ru-RU" sz="1400" b="1" dirty="0">
              <a:solidFill>
                <a:schemeClr val="hlink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1114" r:id="rId1"/>
    <p:sldLayoutId id="2147490947" r:id="rId2"/>
    <p:sldLayoutId id="2147490948" r:id="rId3"/>
    <p:sldLayoutId id="2147490949" r:id="rId4"/>
    <p:sldLayoutId id="2147490950" r:id="rId5"/>
    <p:sldLayoutId id="2147490951" r:id="rId6"/>
    <p:sldLayoutId id="2147490952" r:id="rId7"/>
    <p:sldLayoutId id="2147490953" r:id="rId8"/>
    <p:sldLayoutId id="2147490954" r:id="rId9"/>
    <p:sldLayoutId id="2147490955" r:id="rId10"/>
    <p:sldLayoutId id="2147490956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5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6"/>
        </a:buBlip>
        <a:defRPr sz="2400">
          <a:solidFill>
            <a:schemeClr val="tx1"/>
          </a:solidFill>
          <a:latin typeface="+mn-lt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01FE77C-016C-4450-8AC7-83021C5F1AB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76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7653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9985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tvel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sp>
        <p:nvSpPr>
          <p:cNvPr id="27654" name="navigation1"/>
          <p:cNvSpPr>
            <a:spLocks noChangeArrowheads="1"/>
          </p:cNvSpPr>
          <p:nvPr/>
        </p:nvSpPr>
        <p:spPr bwMode="auto">
          <a:xfrm>
            <a:off x="7627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 dirty="0">
                <a:solidFill>
                  <a:schemeClr val="hlink"/>
                </a:solidFill>
              </a:rPr>
              <a:t>1</a:t>
            </a:r>
          </a:p>
        </p:txBody>
      </p:sp>
      <p:sp>
        <p:nvSpPr>
          <p:cNvPr id="27655" name="navigation2"/>
          <p:cNvSpPr>
            <a:spLocks noChangeArrowheads="1"/>
          </p:cNvSpPr>
          <p:nvPr/>
        </p:nvSpPr>
        <p:spPr bwMode="auto">
          <a:xfrm>
            <a:off x="8007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 dirty="0">
                <a:solidFill>
                  <a:schemeClr val="hlink"/>
                </a:solidFill>
              </a:rPr>
              <a:t>2</a:t>
            </a:r>
          </a:p>
        </p:txBody>
      </p:sp>
      <p:sp>
        <p:nvSpPr>
          <p:cNvPr id="27656" name="navigation3"/>
          <p:cNvSpPr>
            <a:spLocks noChangeArrowheads="1"/>
          </p:cNvSpPr>
          <p:nvPr/>
        </p:nvSpPr>
        <p:spPr bwMode="auto">
          <a:xfrm>
            <a:off x="8388350" y="1022350"/>
            <a:ext cx="287338" cy="287338"/>
          </a:xfrm>
          <a:prstGeom prst="ellipse">
            <a:avLst/>
          </a:prstGeom>
          <a:solidFill>
            <a:schemeClr val="hlink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3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1115" r:id="rId1"/>
    <p:sldLayoutId id="2147490957" r:id="rId2"/>
    <p:sldLayoutId id="2147490958" r:id="rId3"/>
    <p:sldLayoutId id="2147490959" r:id="rId4"/>
    <p:sldLayoutId id="2147490960" r:id="rId5"/>
    <p:sldLayoutId id="2147490961" r:id="rId6"/>
    <p:sldLayoutId id="2147490962" r:id="rId7"/>
    <p:sldLayoutId id="2147490963" r:id="rId8"/>
    <p:sldLayoutId id="2147490964" r:id="rId9"/>
    <p:sldLayoutId id="2147490965" r:id="rId10"/>
    <p:sldLayoutId id="2147490966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5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6"/>
        </a:buBlip>
        <a:defRPr sz="2400">
          <a:solidFill>
            <a:schemeClr val="tx1"/>
          </a:solidFill>
          <a:latin typeface="+mn-lt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1747" name="Text Box 3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9985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tvel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BCC70329-0213-4EF9-8485-0088B0A8A12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31750" name="navigation1"/>
          <p:cNvSpPr>
            <a:spLocks noChangeArrowheads="1"/>
          </p:cNvSpPr>
          <p:nvPr/>
        </p:nvSpPr>
        <p:spPr bwMode="auto">
          <a:xfrm>
            <a:off x="7627938" y="1022350"/>
            <a:ext cx="287337" cy="287338"/>
          </a:xfrm>
          <a:prstGeom prst="ellipse">
            <a:avLst/>
          </a:prstGeom>
          <a:solidFill>
            <a:schemeClr val="hlink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31751" name="navigation2"/>
          <p:cNvSpPr>
            <a:spLocks noChangeArrowheads="1"/>
          </p:cNvSpPr>
          <p:nvPr/>
        </p:nvSpPr>
        <p:spPr bwMode="auto">
          <a:xfrm>
            <a:off x="8007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 dirty="0">
                <a:solidFill>
                  <a:schemeClr val="hlink"/>
                </a:solidFill>
              </a:rPr>
              <a:t>2</a:t>
            </a:r>
          </a:p>
        </p:txBody>
      </p:sp>
      <p:sp>
        <p:nvSpPr>
          <p:cNvPr id="31752" name="navigation3"/>
          <p:cNvSpPr>
            <a:spLocks noChangeArrowheads="1"/>
          </p:cNvSpPr>
          <p:nvPr/>
        </p:nvSpPr>
        <p:spPr bwMode="auto">
          <a:xfrm>
            <a:off x="8388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 dirty="0">
                <a:solidFill>
                  <a:schemeClr val="hlink"/>
                </a:solidFill>
              </a:rPr>
              <a:t>3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1116" r:id="rId1"/>
    <p:sldLayoutId id="2147490967" r:id="rId2"/>
    <p:sldLayoutId id="2147490968" r:id="rId3"/>
    <p:sldLayoutId id="2147490969" r:id="rId4"/>
    <p:sldLayoutId id="2147490970" r:id="rId5"/>
    <p:sldLayoutId id="2147490971" r:id="rId6"/>
    <p:sldLayoutId id="2147490972" r:id="rId7"/>
    <p:sldLayoutId id="2147490973" r:id="rId8"/>
    <p:sldLayoutId id="2147490974" r:id="rId9"/>
    <p:sldLayoutId id="2147490975" r:id="rId10"/>
    <p:sldLayoutId id="2147490976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5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6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3B72334-362D-4955-9F4D-FCEDE6DD041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3797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9985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tvel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sp>
        <p:nvSpPr>
          <p:cNvPr id="33798" name="navigation1"/>
          <p:cNvSpPr>
            <a:spLocks noChangeArrowheads="1"/>
          </p:cNvSpPr>
          <p:nvPr/>
        </p:nvSpPr>
        <p:spPr bwMode="auto">
          <a:xfrm>
            <a:off x="7627938" y="1022350"/>
            <a:ext cx="287337" cy="287338"/>
          </a:xfrm>
          <a:prstGeom prst="ellipse">
            <a:avLst/>
          </a:prstGeom>
          <a:solidFill>
            <a:srgbClr val="C1DCF1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 dirty="0">
                <a:solidFill>
                  <a:schemeClr val="hlink"/>
                </a:solidFill>
              </a:rPr>
              <a:t>1</a:t>
            </a:r>
          </a:p>
        </p:txBody>
      </p:sp>
      <p:sp>
        <p:nvSpPr>
          <p:cNvPr id="33799" name="navigation2"/>
          <p:cNvSpPr>
            <a:spLocks noChangeArrowheads="1"/>
          </p:cNvSpPr>
          <p:nvPr/>
        </p:nvSpPr>
        <p:spPr bwMode="auto">
          <a:xfrm>
            <a:off x="8007350" y="1022350"/>
            <a:ext cx="287338" cy="287338"/>
          </a:xfrm>
          <a:prstGeom prst="ellipse">
            <a:avLst/>
          </a:prstGeom>
          <a:solidFill>
            <a:schemeClr val="hlink"/>
          </a:solidFill>
          <a:ln w="19050" algn="ctr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3800" name="navigation3"/>
          <p:cNvSpPr>
            <a:spLocks noChangeArrowheads="1"/>
          </p:cNvSpPr>
          <p:nvPr/>
        </p:nvSpPr>
        <p:spPr bwMode="auto">
          <a:xfrm>
            <a:off x="8388350" y="1022350"/>
            <a:ext cx="287338" cy="287338"/>
          </a:xfrm>
          <a:prstGeom prst="ellipse">
            <a:avLst/>
          </a:prstGeom>
          <a:solidFill>
            <a:srgbClr val="C1DCF1"/>
          </a:solidFill>
          <a:ln w="19050">
            <a:solidFill>
              <a:schemeClr val="hlink"/>
            </a:solidFill>
            <a:round/>
            <a:headEnd/>
            <a:tailEnd/>
          </a:ln>
          <a:effectLst/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b="1" dirty="0">
                <a:solidFill>
                  <a:schemeClr val="hlink"/>
                </a:solidFill>
              </a:rPr>
              <a:t>3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1117" r:id="rId1"/>
    <p:sldLayoutId id="2147490977" r:id="rId2"/>
    <p:sldLayoutId id="2147490978" r:id="rId3"/>
    <p:sldLayoutId id="2147490979" r:id="rId4"/>
    <p:sldLayoutId id="2147490980" r:id="rId5"/>
    <p:sldLayoutId id="2147490981" r:id="rId6"/>
    <p:sldLayoutId id="2147490982" r:id="rId7"/>
    <p:sldLayoutId id="2147490983" r:id="rId8"/>
    <p:sldLayoutId id="2147490984" r:id="rId9"/>
    <p:sldLayoutId id="2147490985" r:id="rId10"/>
    <p:sldLayoutId id="2147490986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5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6"/>
        </a:buBlip>
        <a:defRPr sz="2400">
          <a:solidFill>
            <a:schemeClr val="tx1"/>
          </a:solidFill>
          <a:latin typeface="+mn-lt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8DA1D546-429A-45FC-98CB-E588349724B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3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9985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tvel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pic>
        <p:nvPicPr>
          <p:cNvPr id="12295" name="Рисунок 5" descr="log2.JPG"/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1118" r:id="rId1"/>
    <p:sldLayoutId id="2147490987" r:id="rId2"/>
    <p:sldLayoutId id="2147490988" r:id="rId3"/>
    <p:sldLayoutId id="2147490989" r:id="rId4"/>
    <p:sldLayoutId id="2147490990" r:id="rId5"/>
    <p:sldLayoutId id="2147491119" r:id="rId6"/>
    <p:sldLayoutId id="2147491120" r:id="rId7"/>
    <p:sldLayoutId id="2147490991" r:id="rId8"/>
    <p:sldLayoutId id="2147490992" r:id="rId9"/>
    <p:sldLayoutId id="2147490993" r:id="rId10"/>
    <p:sldLayoutId id="2147490994" r:id="rId11"/>
    <p:sldLayoutId id="2147490995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6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7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66266FF0-C192-4BCD-8F71-BBBD1709D78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3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9985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www.tvel.ru</a:t>
            </a:r>
            <a:endParaRPr lang="ru-RU" sz="1400" b="1">
              <a:solidFill>
                <a:schemeClr val="hlin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318" name="Рисунок 5" descr="log2.JPG"/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91121" r:id="rId1"/>
    <p:sldLayoutId id="2147490996" r:id="rId2"/>
    <p:sldLayoutId id="2147490997" r:id="rId3"/>
    <p:sldLayoutId id="2147490998" r:id="rId4"/>
    <p:sldLayoutId id="2147490999" r:id="rId5"/>
    <p:sldLayoutId id="2147491122" r:id="rId6"/>
    <p:sldLayoutId id="2147491123" r:id="rId7"/>
    <p:sldLayoutId id="2147491000" r:id="rId8"/>
    <p:sldLayoutId id="2147491001" r:id="rId9"/>
    <p:sldLayoutId id="2147491002" r:id="rId10"/>
    <p:sldLayoutId id="2147491003" r:id="rId11"/>
    <p:sldLayoutId id="2147491004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6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7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8288B8CB-1128-4229-B031-920C946692F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3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9985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</a:rPr>
              <a:t>www.tvel.ru</a:t>
            </a:r>
            <a:endParaRPr lang="ru-RU" sz="1400" b="1" dirty="0">
              <a:solidFill>
                <a:schemeClr val="hlink"/>
              </a:solidFill>
            </a:endParaRPr>
          </a:p>
        </p:txBody>
      </p:sp>
      <p:pic>
        <p:nvPicPr>
          <p:cNvPr id="14342" name="Рисунок 5" descr="log2.JPG"/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91124" r:id="rId1"/>
    <p:sldLayoutId id="2147491005" r:id="rId2"/>
    <p:sldLayoutId id="2147491006" r:id="rId3"/>
    <p:sldLayoutId id="2147491007" r:id="rId4"/>
    <p:sldLayoutId id="2147491008" r:id="rId5"/>
    <p:sldLayoutId id="2147491125" r:id="rId6"/>
    <p:sldLayoutId id="2147491009" r:id="rId7"/>
    <p:sldLayoutId id="2147491010" r:id="rId8"/>
    <p:sldLayoutId id="2147491011" r:id="rId9"/>
    <p:sldLayoutId id="2147491012" r:id="rId10"/>
    <p:sldLayoutId id="2147491013" r:id="rId11"/>
    <p:sldLayoutId id="2147491014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6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7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557338"/>
            <a:ext cx="8207375" cy="4527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32788" y="6448425"/>
            <a:ext cx="811212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A0F564E-B623-411C-9043-D5394029D56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77788"/>
            <a:ext cx="8207375" cy="903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hlink">
                <a:alpha val="50000"/>
              </a:schemeClr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3" name="Text Box 5">
            <a:hlinkClick r:id="rId14"/>
          </p:cNvPr>
          <p:cNvSpPr txBox="1">
            <a:spLocks noChangeArrowheads="1"/>
          </p:cNvSpPr>
          <p:nvPr/>
        </p:nvSpPr>
        <p:spPr bwMode="auto">
          <a:xfrm>
            <a:off x="468313" y="6529388"/>
            <a:ext cx="99853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en-US" sz="1400" b="1" dirty="0">
                <a:solidFill>
                  <a:schemeClr val="hlink"/>
                </a:solidFill>
                <a:latin typeface="Arial" pitchFamily="34" charset="0"/>
                <a:cs typeface="Arial" pitchFamily="34" charset="0"/>
              </a:rPr>
              <a:t>www.tvel.ru</a:t>
            </a:r>
            <a:endParaRPr lang="ru-RU" sz="1400" b="1" dirty="0">
              <a:solidFill>
                <a:schemeClr val="hlin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5366" name="Рисунок 5" descr="log2.JPG"/>
          <p:cNvPicPr>
            <a:picLocks noChangeAspect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535113" y="6478588"/>
            <a:ext cx="3937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Прямая соединительная линия 6"/>
          <p:cNvCxnSpPr/>
          <p:nvPr/>
        </p:nvCxnSpPr>
        <p:spPr>
          <a:xfrm>
            <a:off x="0" y="955675"/>
            <a:ext cx="9144000" cy="1588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91126" r:id="rId1"/>
    <p:sldLayoutId id="2147491127" r:id="rId2"/>
    <p:sldLayoutId id="2147491015" r:id="rId3"/>
    <p:sldLayoutId id="2147491016" r:id="rId4"/>
    <p:sldLayoutId id="2147491017" r:id="rId5"/>
    <p:sldLayoutId id="2147491128" r:id="rId6"/>
    <p:sldLayoutId id="2147491018" r:id="rId7"/>
    <p:sldLayoutId id="2147491019" r:id="rId8"/>
    <p:sldLayoutId id="2147491020" r:id="rId9"/>
    <p:sldLayoutId id="2147491021" r:id="rId10"/>
    <p:sldLayoutId id="2147491022" r:id="rId11"/>
    <p:sldLayoutId id="2147491023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58775" indent="-358775" algn="l" rtl="0" eaLnBrk="0" fontAlgn="base" hangingPunct="0">
        <a:spcBef>
          <a:spcPct val="40000"/>
        </a:spcBef>
        <a:spcAft>
          <a:spcPct val="20000"/>
        </a:spcAft>
        <a:buBlip>
          <a:blip r:embed="rId16"/>
        </a:buBlip>
        <a:defRPr sz="2600">
          <a:solidFill>
            <a:schemeClr val="tx1"/>
          </a:solidFill>
          <a:latin typeface="+mn-lt"/>
          <a:ea typeface="+mn-ea"/>
          <a:cs typeface="+mn-cs"/>
        </a:defRPr>
      </a:lvl1pPr>
      <a:lvl2pPr marL="622300" indent="-261938" algn="l" rtl="0" eaLnBrk="0" fontAlgn="base" hangingPunct="0">
        <a:spcBef>
          <a:spcPct val="0"/>
        </a:spcBef>
        <a:spcAft>
          <a:spcPct val="20000"/>
        </a:spcAft>
        <a:buBlip>
          <a:blip r:embed="rId17"/>
        </a:buBlip>
        <a:defRPr sz="2400">
          <a:solidFill>
            <a:schemeClr val="tx1"/>
          </a:solidFill>
          <a:latin typeface="+mn-lt"/>
          <a:cs typeface="+mn-cs"/>
        </a:defRPr>
      </a:lvl2pPr>
      <a:lvl3pPr marL="892175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9.xml"/><Relationship Id="rId4" Type="http://schemas.openxmlformats.org/officeDocument/2006/relationships/image" Target="../media/image1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4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4" Type="http://schemas.openxmlformats.org/officeDocument/2006/relationships/image" Target="../media/image16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4" Type="http://schemas.openxmlformats.org/officeDocument/2006/relationships/image" Target="../media/image19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6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03213" y="5094288"/>
            <a:ext cx="3813175" cy="1125537"/>
          </a:xfrm>
        </p:spPr>
        <p:txBody>
          <a:bodyPr anchor="t"/>
          <a:lstStyle/>
          <a:p>
            <a:pPr ea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i="1" dirty="0" smtClean="0">
                <a:solidFill>
                  <a:srgbClr val="002060"/>
                </a:solidFill>
                <a:latin typeface="Times New Roman" pitchFamily="18" charset="0"/>
              </a:rPr>
              <a:t>Докладчик: </a:t>
            </a:r>
            <a:endParaRPr lang="ru-RU" sz="1400" i="1" dirty="0" smtClean="0">
              <a:solidFill>
                <a:srgbClr val="002060"/>
              </a:solidFill>
            </a:endParaRPr>
          </a:p>
          <a:p>
            <a:pPr ea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ru-RU" sz="1400" i="1" dirty="0" smtClean="0">
              <a:solidFill>
                <a:srgbClr val="002060"/>
              </a:solidFill>
            </a:endParaRPr>
          </a:p>
          <a:p>
            <a:pPr ea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i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Специалист старший отдела капитального строительства ОАО «АЭХК»</a:t>
            </a:r>
          </a:p>
          <a:p>
            <a:pPr ea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ru-RU" sz="1400" dirty="0" smtClean="0">
              <a:solidFill>
                <a:srgbClr val="002060"/>
              </a:solidFill>
            </a:endParaRPr>
          </a:p>
          <a:p>
            <a:pPr ea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002060"/>
                </a:solidFill>
              </a:rPr>
              <a:t>Державин Александр Васильевич</a:t>
            </a:r>
          </a:p>
          <a:p>
            <a:pPr eaLnBrk="1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ru-RU" sz="1400" i="1" dirty="0" smtClean="0">
              <a:solidFill>
                <a:schemeClr val="tx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2" name="a--sw3tSuYwFh9d4syvsTVb" hidden="1"/>
          <p:cNvSpPr>
            <a:spLocks noChangeArrowheads="1"/>
          </p:cNvSpPr>
          <p:nvPr/>
        </p:nvSpPr>
        <p:spPr bwMode="auto">
          <a:xfrm>
            <a:off x="63500" y="6731000"/>
            <a:ext cx="63500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 dirty="0">
              <a:latin typeface="Arial" charset="0"/>
            </a:endParaRPr>
          </a:p>
        </p:txBody>
      </p:sp>
      <p:sp>
        <p:nvSpPr>
          <p:cNvPr id="129029" name="Text Box 9"/>
          <p:cNvSpPr txBox="1">
            <a:spLocks noChangeArrowheads="1"/>
          </p:cNvSpPr>
          <p:nvPr/>
        </p:nvSpPr>
        <p:spPr bwMode="auto">
          <a:xfrm>
            <a:off x="766763" y="2174875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dirty="0"/>
          </a:p>
        </p:txBody>
      </p:sp>
      <p:sp>
        <p:nvSpPr>
          <p:cNvPr id="129030" name="Text Box 13"/>
          <p:cNvSpPr txBox="1">
            <a:spLocks noChangeArrowheads="1"/>
          </p:cNvSpPr>
          <p:nvPr/>
        </p:nvSpPr>
        <p:spPr bwMode="auto">
          <a:xfrm>
            <a:off x="2209800" y="2174875"/>
            <a:ext cx="5410200" cy="181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774"/>
                </a:solidFill>
              </a:rPr>
              <a:t>Вывод из эксплуатации корпусов диффузионного разделения изотопов урана ОАО «АЭХК»</a:t>
            </a:r>
            <a:endParaRPr lang="ru-RU" sz="2800" b="1" dirty="0">
              <a:solidFill>
                <a:srgbClr val="002774"/>
              </a:solidFill>
            </a:endParaRPr>
          </a:p>
        </p:txBody>
      </p:sp>
      <p:pic>
        <p:nvPicPr>
          <p:cNvPr id="144385" name="Picture 2" descr="\\Sfs0000011\uc_docs\снегирев\инструкции\ип обучение персонала\скрины\logo_AECC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84267" y="544513"/>
            <a:ext cx="1903559" cy="582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46313" y="501650"/>
            <a:ext cx="2425700" cy="892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6772275" y="161925"/>
            <a:ext cx="19907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ru-RU" sz="1000" dirty="0" smtClean="0"/>
          </a:p>
          <a:p>
            <a:pPr algn="r"/>
            <a:endParaRPr lang="ru-RU" sz="10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C7C7ABC-661C-4C14-8BD3-491DF94403DC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  <p:sp>
        <p:nvSpPr>
          <p:cNvPr id="72707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55600" y="179388"/>
            <a:ext cx="8207375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90000"/>
              </a:lnSpc>
            </a:pPr>
            <a:r>
              <a:rPr lang="ru-RU" sz="2000" b="1" dirty="0" smtClean="0">
                <a:solidFill>
                  <a:srgbClr val="091D5D"/>
                </a:solidFill>
              </a:rPr>
              <a:t>РАО, образующиеся в процессе вывода из эксплуатации и  реабилитации территории здания 802</a:t>
            </a:r>
            <a:endParaRPr lang="ru-RU" sz="2000" dirty="0" smtClean="0">
              <a:solidFill>
                <a:srgbClr val="091D5D"/>
              </a:solidFill>
            </a:endParaRPr>
          </a:p>
          <a:p>
            <a:pPr eaLnBrk="0" hangingPunct="0">
              <a:lnSpc>
                <a:spcPct val="90000"/>
              </a:lnSpc>
            </a:pPr>
            <a:endParaRPr lang="ru-RU" sz="2000" dirty="0">
              <a:solidFill>
                <a:srgbClr val="091D5D"/>
              </a:solidFill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85750" y="1276351"/>
          <a:ext cx="8610600" cy="487729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71725"/>
                <a:gridCol w="1558710"/>
                <a:gridCol w="1093604"/>
                <a:gridCol w="1433911"/>
                <a:gridCol w="2152650"/>
              </a:tblGrid>
              <a:tr h="342695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Вид  РАО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Характеристика РАО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Ед. </a:t>
                      </a:r>
                      <a:r>
                        <a:rPr lang="ru-RU" sz="1400" b="1" dirty="0" err="1" smtClean="0">
                          <a:solidFill>
                            <a:srgbClr val="002774"/>
                          </a:solidFill>
                        </a:rPr>
                        <a:t>изм</a:t>
                      </a:r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.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Значение</a:t>
                      </a:r>
                      <a:r>
                        <a:rPr lang="ru-RU" sz="1400" b="1" baseline="0" dirty="0" smtClean="0">
                          <a:solidFill>
                            <a:srgbClr val="002774"/>
                          </a:solidFill>
                        </a:rPr>
                        <a:t> 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Примечание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67174">
                <a:tc rowSpan="2"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Металлические загрязненные отходы (МОЗРВ)</a:t>
                      </a:r>
                      <a:endParaRPr lang="ru-RU" sz="1400" b="1" kern="1200" dirty="0" smtClean="0">
                        <a:solidFill>
                          <a:srgbClr val="0027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Категория 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----------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НАО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67174">
                <a:tc vMerge="1">
                  <a:txBody>
                    <a:bodyPr/>
                    <a:lstStyle/>
                    <a:p>
                      <a:pPr algn="l" fontAlgn="t"/>
                      <a:endParaRPr lang="ru-RU" sz="800" b="1" i="0" u="none" strike="noStrike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Масса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т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3 625,0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</a:tr>
              <a:tr h="367174">
                <a:tc rowSpan="5"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 Строительные конструкции </a:t>
                      </a:r>
                      <a:endParaRPr lang="ru-RU" sz="1400" b="1" kern="1200" dirty="0" smtClean="0">
                        <a:solidFill>
                          <a:srgbClr val="0027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Масса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т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5241,8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</a:tr>
              <a:tr h="3671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Объем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м</a:t>
                      </a:r>
                      <a:r>
                        <a:rPr lang="ru-RU" sz="1400" b="1" kern="1200" baseline="30000" dirty="0" smtClean="0">
                          <a:solidFill>
                            <a:srgbClr val="002774"/>
                          </a:solidFill>
                        </a:rPr>
                        <a:t>3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2620,9</a:t>
                      </a:r>
                      <a:endParaRPr lang="ru-RU" sz="1400" b="1" dirty="0" smtClean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</a:tr>
              <a:tr h="367174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Удельная активность 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Бк/г</a:t>
                      </a:r>
                      <a:endParaRPr lang="ru-RU" sz="1400" b="1" kern="1200" baseline="30000" dirty="0" smtClean="0">
                        <a:solidFill>
                          <a:srgbClr val="0027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4,59Е + 01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solidFill>
                            <a:srgbClr val="002774"/>
                          </a:solidFill>
                        </a:rPr>
                        <a:t>Усредненное значение  по результатам проб</a:t>
                      </a:r>
                      <a:endParaRPr lang="ru-RU" sz="1400" b="0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</a:tr>
              <a:tr h="36717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Суммарная активность</a:t>
                      </a:r>
                      <a:endParaRPr lang="ru-RU" sz="1400" b="1" kern="1200" dirty="0" smtClean="0">
                        <a:solidFill>
                          <a:srgbClr val="0027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Бк</a:t>
                      </a:r>
                      <a:endParaRPr lang="ru-RU" sz="1400" b="1" kern="1200" baseline="30000" dirty="0" smtClean="0">
                        <a:solidFill>
                          <a:srgbClr val="0027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u="none" strike="noStrike" dirty="0">
                          <a:solidFill>
                            <a:srgbClr val="002774"/>
                          </a:solidFill>
                        </a:rPr>
                        <a:t>1,81E+11</a:t>
                      </a:r>
                      <a:endParaRPr lang="en-US" sz="1400" b="1" i="0" u="none" strike="noStrike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</a:tr>
              <a:tr h="48251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Категория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------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НАО, САО</a:t>
                      </a:r>
                      <a:endParaRPr lang="ru-RU" sz="1400" b="1" dirty="0" smtClean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</a:tr>
              <a:tr h="807782"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Грунт</a:t>
                      </a:r>
                      <a:endParaRPr lang="ru-RU" sz="1400" b="1" kern="1200" dirty="0" smtClean="0">
                        <a:solidFill>
                          <a:srgbClr val="0027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  <a:p>
                      <a:pPr algn="ctr"/>
                      <a:r>
                        <a:rPr lang="ru-RU" sz="1400" b="1" dirty="0">
                          <a:solidFill>
                            <a:srgbClr val="002774"/>
                          </a:solidFill>
                        </a:rPr>
                        <a:t> </a:t>
                      </a:r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       ______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 smtClean="0">
                        <a:solidFill>
                          <a:srgbClr val="002774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 ______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           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            ______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 smtClean="0">
                          <a:solidFill>
                            <a:srgbClr val="002774"/>
                          </a:solidFill>
                        </a:rPr>
                        <a:t>По результатам проведенных комплексных  изысканий и КРО, не попадает  под категорию РАО</a:t>
                      </a:r>
                      <a:endParaRPr lang="ru-RU" sz="1400" b="0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72759" name="Picture 13" descr="logo_AECC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29575" y="257176"/>
            <a:ext cx="1000125" cy="523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8332788" y="6543675"/>
            <a:ext cx="811212" cy="282575"/>
          </a:xfrm>
        </p:spPr>
        <p:txBody>
          <a:bodyPr/>
          <a:lstStyle/>
          <a:p>
            <a:pPr>
              <a:defRPr/>
            </a:pPr>
            <a:fld id="{EC7C7ABC-661C-4C14-8BD3-491DF94403DC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  <p:sp>
        <p:nvSpPr>
          <p:cNvPr id="72707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55600" y="179388"/>
            <a:ext cx="8207375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90000"/>
              </a:lnSpc>
            </a:pPr>
            <a:r>
              <a:rPr lang="ru-RU" sz="2000" b="1" dirty="0" smtClean="0">
                <a:solidFill>
                  <a:srgbClr val="091D5D"/>
                </a:solidFill>
              </a:rPr>
              <a:t>РАО, образующиеся в процессе вывода из эксплуатации и  реабилитации территории здания 804</a:t>
            </a:r>
            <a:endParaRPr lang="ru-RU" sz="2000" dirty="0" smtClean="0">
              <a:solidFill>
                <a:srgbClr val="091D5D"/>
              </a:solidFill>
            </a:endParaRPr>
          </a:p>
          <a:p>
            <a:pPr eaLnBrk="0" hangingPunct="0">
              <a:lnSpc>
                <a:spcPct val="90000"/>
              </a:lnSpc>
            </a:pPr>
            <a:endParaRPr lang="ru-RU" sz="2000" dirty="0">
              <a:solidFill>
                <a:srgbClr val="091D5D"/>
              </a:solidFill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180975" y="1100108"/>
          <a:ext cx="8767763" cy="530441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275455"/>
                <a:gridCol w="1849411"/>
                <a:gridCol w="1006980"/>
                <a:gridCol w="1754729"/>
                <a:gridCol w="1881188"/>
              </a:tblGrid>
              <a:tr h="618415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Вид  РАО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Характеристика РАО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Ед. </a:t>
                      </a:r>
                      <a:r>
                        <a:rPr lang="ru-RU" sz="1400" b="1" dirty="0" err="1" smtClean="0">
                          <a:solidFill>
                            <a:srgbClr val="002774"/>
                          </a:solidFill>
                        </a:rPr>
                        <a:t>изм</a:t>
                      </a:r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.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Значение</a:t>
                      </a:r>
                      <a:r>
                        <a:rPr lang="ru-RU" sz="1400" b="1" baseline="0" dirty="0" smtClean="0">
                          <a:solidFill>
                            <a:srgbClr val="002774"/>
                          </a:solidFill>
                        </a:rPr>
                        <a:t> 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Примечание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</a:tr>
              <a:tr h="392893">
                <a:tc rowSpan="2"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Металлические загрязненные отходы (МОЗРВ)</a:t>
                      </a:r>
                      <a:endParaRPr lang="ru-RU" sz="1400" b="1" kern="1200" dirty="0" smtClean="0">
                        <a:solidFill>
                          <a:srgbClr val="0027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Категория 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----------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НАО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</a:tr>
              <a:tr h="392893">
                <a:tc vMerge="1">
                  <a:txBody>
                    <a:bodyPr/>
                    <a:lstStyle/>
                    <a:p>
                      <a:pPr algn="l"/>
                      <a:endParaRPr lang="ru-RU" sz="800" b="1" kern="1200" dirty="0" smtClean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Масса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т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4 825,0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</a:tr>
              <a:tr h="392893">
                <a:tc rowSpan="5">
                  <a:txBody>
                    <a:bodyPr/>
                    <a:lstStyle/>
                    <a:p>
                      <a:pPr algn="ctr"/>
                      <a:endParaRPr lang="ru-RU" sz="1400" b="1" kern="1200" dirty="0" smtClean="0">
                        <a:solidFill>
                          <a:srgbClr val="002774"/>
                        </a:solidFill>
                      </a:endParaRPr>
                    </a:p>
                    <a:p>
                      <a:pPr algn="ctr"/>
                      <a:endParaRPr lang="ru-RU" sz="1400" b="1" kern="1200" dirty="0" smtClean="0">
                        <a:solidFill>
                          <a:srgbClr val="002774"/>
                        </a:solidFill>
                      </a:endParaRPr>
                    </a:p>
                    <a:p>
                      <a:pPr algn="ctr"/>
                      <a:endParaRPr lang="ru-RU" sz="1400" b="1" kern="1200" dirty="0" smtClean="0">
                        <a:solidFill>
                          <a:srgbClr val="002774"/>
                        </a:solidFill>
                      </a:endParaRPr>
                    </a:p>
                    <a:p>
                      <a:pPr algn="ctr"/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       </a:t>
                      </a:r>
                    </a:p>
                    <a:p>
                      <a:pPr algn="ctr"/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  Строительные конструкции </a:t>
                      </a:r>
                      <a:endParaRPr lang="ru-RU" sz="1400" b="1" kern="1200" dirty="0" smtClean="0">
                        <a:solidFill>
                          <a:srgbClr val="0027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Масса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т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4295,2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</a:tr>
              <a:tr h="39289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Объем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м</a:t>
                      </a:r>
                      <a:r>
                        <a:rPr lang="ru-RU" sz="1400" b="1" kern="1200" baseline="30000" dirty="0" smtClean="0">
                          <a:solidFill>
                            <a:srgbClr val="002774"/>
                          </a:solidFill>
                        </a:rPr>
                        <a:t>3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2147,6</a:t>
                      </a:r>
                      <a:endParaRPr lang="ru-RU" sz="1400" b="1" dirty="0" smtClean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</a:tr>
              <a:tr h="61841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Удельная активность 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Бк/г</a:t>
                      </a:r>
                      <a:endParaRPr lang="ru-RU" sz="1400" b="1" kern="1200" baseline="30000" dirty="0" smtClean="0">
                        <a:solidFill>
                          <a:srgbClr val="0027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5,45Е + 01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solidFill>
                            <a:srgbClr val="002774"/>
                          </a:solidFill>
                        </a:rPr>
                        <a:t>Усредненное значение  по результатам проб</a:t>
                      </a:r>
                      <a:endParaRPr lang="ru-RU" sz="1400" b="0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</a:tr>
              <a:tr h="61841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Суммарная активность</a:t>
                      </a:r>
                      <a:endParaRPr lang="ru-RU" sz="1400" b="1" kern="1200" dirty="0" smtClean="0">
                        <a:solidFill>
                          <a:srgbClr val="0027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Бк</a:t>
                      </a:r>
                      <a:endParaRPr lang="ru-RU" sz="1400" b="1" kern="1200" baseline="30000" dirty="0" smtClean="0">
                        <a:solidFill>
                          <a:srgbClr val="0027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u="none" strike="noStrike" dirty="0" smtClean="0">
                          <a:solidFill>
                            <a:srgbClr val="002774"/>
                          </a:solidFill>
                        </a:rPr>
                        <a:t>2</a:t>
                      </a:r>
                      <a:r>
                        <a:rPr lang="en-US" sz="1400" b="1" u="none" strike="noStrike" dirty="0" smtClean="0">
                          <a:solidFill>
                            <a:srgbClr val="002774"/>
                          </a:solidFill>
                        </a:rPr>
                        <a:t>,</a:t>
                      </a:r>
                      <a:r>
                        <a:rPr lang="ru-RU" sz="1400" b="1" u="none" strike="noStrike" dirty="0" smtClean="0">
                          <a:solidFill>
                            <a:srgbClr val="002774"/>
                          </a:solidFill>
                        </a:rPr>
                        <a:t>13</a:t>
                      </a:r>
                      <a:r>
                        <a:rPr lang="en-US" sz="1400" b="1" u="none" strike="noStrike" dirty="0" smtClean="0">
                          <a:solidFill>
                            <a:srgbClr val="002774"/>
                          </a:solidFill>
                        </a:rPr>
                        <a:t>E+11</a:t>
                      </a:r>
                      <a:endParaRPr lang="en-US" sz="1400" b="1" i="0" u="none" strike="noStrike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</a:tr>
              <a:tr h="39289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Категория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НАО</a:t>
                      </a:r>
                      <a:endParaRPr lang="ru-RU" sz="1400" b="1" dirty="0" smtClean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</a:tr>
              <a:tr h="1109508">
                <a:tc>
                  <a:txBody>
                    <a:bodyPr/>
                    <a:lstStyle/>
                    <a:p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                </a:t>
                      </a:r>
                    </a:p>
                    <a:p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         </a:t>
                      </a:r>
                    </a:p>
                    <a:p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                     Грунт</a:t>
                      </a:r>
                      <a:endParaRPr lang="ru-RU" sz="1400" b="1" kern="1200" dirty="0" smtClean="0">
                        <a:solidFill>
                          <a:srgbClr val="0027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  <a:p>
                      <a:r>
                        <a:rPr lang="ru-RU" sz="1400" b="1" dirty="0">
                          <a:solidFill>
                            <a:srgbClr val="002774"/>
                          </a:solidFill>
                        </a:rPr>
                        <a:t> </a:t>
                      </a:r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       ______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dirty="0" smtClean="0">
                        <a:solidFill>
                          <a:srgbClr val="002774"/>
                        </a:solidFill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 ______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          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            ______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rgbClr val="002774"/>
                          </a:solidFill>
                        </a:rPr>
                        <a:t>По результатам проведенных комплексных  изысканий и КРО, не попадает  под категорию РАО</a:t>
                      </a: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72759" name="Picture 13" descr="logo_AECC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48625" y="257176"/>
            <a:ext cx="981075" cy="419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762" name="TextBox 28"/>
          <p:cNvSpPr txBox="1">
            <a:spLocks noChangeArrowheads="1"/>
          </p:cNvSpPr>
          <p:nvPr/>
        </p:nvSpPr>
        <p:spPr bwMode="auto">
          <a:xfrm>
            <a:off x="123825" y="6324600"/>
            <a:ext cx="886777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0">
            <a:spAutoFit/>
          </a:bodyPr>
          <a:lstStyle/>
          <a:p>
            <a:r>
              <a:rPr lang="ru-RU" sz="1000" dirty="0" smtClean="0">
                <a:solidFill>
                  <a:srgbClr val="002774"/>
                </a:solidFill>
              </a:rPr>
              <a:t> </a:t>
            </a:r>
            <a:endParaRPr lang="ru-RU" sz="1000" dirty="0">
              <a:solidFill>
                <a:srgbClr val="002774"/>
              </a:solidFill>
            </a:endParaRPr>
          </a:p>
        </p:txBody>
      </p:sp>
    </p:spTree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C7C7ABC-661C-4C14-8BD3-491DF94403DC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  <p:sp>
        <p:nvSpPr>
          <p:cNvPr id="72707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55600" y="214290"/>
            <a:ext cx="8207375" cy="7842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90000"/>
              </a:lnSpc>
            </a:pPr>
            <a:r>
              <a:rPr lang="ru-RU" sz="2000" b="1" dirty="0" smtClean="0">
                <a:solidFill>
                  <a:srgbClr val="091D5D"/>
                </a:solidFill>
              </a:rPr>
              <a:t>РАО, образующиеся в процессе вывода из эксплуатации и  реабилитации территории площадки временного хранения</a:t>
            </a:r>
            <a:endParaRPr lang="ru-RU" sz="2000" dirty="0">
              <a:solidFill>
                <a:srgbClr val="091D5D"/>
              </a:solidFill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38125" y="1514476"/>
          <a:ext cx="8710614" cy="386654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457450"/>
                <a:gridCol w="1708249"/>
                <a:gridCol w="940629"/>
                <a:gridCol w="1247841"/>
                <a:gridCol w="2356445"/>
              </a:tblGrid>
              <a:tr h="421609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Вид  РАО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Характеристика РАО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Ед. </a:t>
                      </a:r>
                      <a:r>
                        <a:rPr lang="ru-RU" sz="1400" b="1" dirty="0" err="1" smtClean="0">
                          <a:solidFill>
                            <a:srgbClr val="002774"/>
                          </a:solidFill>
                        </a:rPr>
                        <a:t>изм</a:t>
                      </a:r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.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Значение</a:t>
                      </a:r>
                      <a:r>
                        <a:rPr lang="ru-RU" sz="1400" b="1" baseline="0" dirty="0" smtClean="0">
                          <a:solidFill>
                            <a:srgbClr val="002774"/>
                          </a:solidFill>
                        </a:rPr>
                        <a:t> 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Примечание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1724">
                <a:tc rowSpan="2"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Металлические загрязненные отходы (МОЗРВ)</a:t>
                      </a:r>
                      <a:endParaRPr lang="ru-RU" sz="1400" b="1" kern="1200" dirty="0" smtClean="0">
                        <a:solidFill>
                          <a:srgbClr val="0027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Категория 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----------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НАО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451724">
                <a:tc vMerge="1">
                  <a:txBody>
                    <a:bodyPr/>
                    <a:lstStyle/>
                    <a:p>
                      <a:pPr algn="l"/>
                      <a:endParaRPr lang="ru-RU" sz="800" b="1" kern="1200" dirty="0" smtClean="0">
                        <a:solidFill>
                          <a:srgbClr val="00206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Масса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т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25 000,0</a:t>
                      </a:r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</a:tr>
              <a:tr h="451724">
                <a:tc rowSpan="5">
                  <a:txBody>
                    <a:bodyPr/>
                    <a:lstStyle/>
                    <a:p>
                      <a:pPr algn="ctr"/>
                      <a:endParaRPr lang="ru-RU" sz="1400" b="1" kern="1200" dirty="0" smtClean="0">
                        <a:solidFill>
                          <a:srgbClr val="002774"/>
                        </a:solidFill>
                      </a:endParaRPr>
                    </a:p>
                    <a:p>
                      <a:pPr algn="ctr"/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Грунт  (по результатам проведенных комплексных изысканий)</a:t>
                      </a:r>
                      <a:endParaRPr lang="ru-RU" sz="1400" b="1" kern="1200" dirty="0" smtClean="0">
                        <a:solidFill>
                          <a:srgbClr val="0027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Масса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т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130 900,0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</a:tr>
              <a:tr h="4517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Объем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м</a:t>
                      </a:r>
                      <a:r>
                        <a:rPr lang="ru-RU" sz="1400" b="1" kern="1200" baseline="30000" dirty="0" smtClean="0">
                          <a:solidFill>
                            <a:srgbClr val="002774"/>
                          </a:solidFill>
                        </a:rPr>
                        <a:t>3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65 500,0</a:t>
                      </a:r>
                      <a:endParaRPr lang="ru-RU" sz="1400" b="1" dirty="0" smtClean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</a:tr>
              <a:tr h="4517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Удельная активность 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Бк/г</a:t>
                      </a:r>
                      <a:endParaRPr lang="ru-RU" sz="1400" b="1" kern="1200" baseline="30000" dirty="0" smtClean="0">
                        <a:solidFill>
                          <a:srgbClr val="0027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7,50 Е + 01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b="0" dirty="0" smtClean="0">
                          <a:solidFill>
                            <a:srgbClr val="002774"/>
                          </a:solidFill>
                        </a:rPr>
                        <a:t>Усредненное значение  по результатам проб</a:t>
                      </a:r>
                      <a:endParaRPr lang="ru-RU" sz="1400" b="0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</a:tr>
              <a:tr h="45172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Суммарная активность</a:t>
                      </a:r>
                      <a:endParaRPr lang="ru-RU" sz="1400" b="1" kern="1200" dirty="0" smtClean="0">
                        <a:solidFill>
                          <a:srgbClr val="0027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rgbClr val="002774"/>
                          </a:solidFill>
                        </a:rPr>
                        <a:t>Бк</a:t>
                      </a:r>
                      <a:endParaRPr lang="ru-RU" sz="1400" b="1" kern="1200" baseline="30000" dirty="0" smtClean="0">
                        <a:solidFill>
                          <a:srgbClr val="002774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u="none" strike="noStrike" dirty="0" smtClean="0">
                          <a:solidFill>
                            <a:srgbClr val="002774"/>
                          </a:solidFill>
                        </a:rPr>
                        <a:t>7</a:t>
                      </a:r>
                      <a:r>
                        <a:rPr lang="en-US" sz="1400" b="1" u="none" strike="noStrike" dirty="0" smtClean="0">
                          <a:solidFill>
                            <a:srgbClr val="002774"/>
                          </a:solidFill>
                        </a:rPr>
                        <a:t>,</a:t>
                      </a:r>
                      <a:r>
                        <a:rPr lang="ru-RU" sz="1400" b="1" u="none" strike="noStrike" dirty="0" smtClean="0">
                          <a:solidFill>
                            <a:srgbClr val="002774"/>
                          </a:solidFill>
                        </a:rPr>
                        <a:t>65 </a:t>
                      </a:r>
                      <a:r>
                        <a:rPr lang="en-US" sz="1400" b="1" u="none" strike="noStrike" dirty="0" smtClean="0">
                          <a:solidFill>
                            <a:srgbClr val="002774"/>
                          </a:solidFill>
                        </a:rPr>
                        <a:t>E+1</a:t>
                      </a:r>
                      <a:r>
                        <a:rPr lang="ru-RU" sz="1400" b="1" u="none" strike="noStrike" dirty="0" smtClean="0">
                          <a:solidFill>
                            <a:srgbClr val="002774"/>
                          </a:solidFill>
                        </a:rPr>
                        <a:t>2</a:t>
                      </a:r>
                      <a:endParaRPr lang="en-US" sz="1400" b="1" i="0" u="none" strike="noStrike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</a:tr>
              <a:tr h="5051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Категория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------</a:t>
                      </a:r>
                      <a:endParaRPr lang="ru-RU" sz="1400" b="1" dirty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rgbClr val="002774"/>
                          </a:solidFill>
                        </a:rPr>
                        <a:t>НАО, САО</a:t>
                      </a:r>
                      <a:endParaRPr lang="ru-RU" sz="1400" b="1" dirty="0" smtClean="0">
                        <a:solidFill>
                          <a:srgbClr val="002774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>
                        <a:solidFill>
                          <a:srgbClr val="002774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72759" name="Picture 13" descr="logo_AECC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115300" y="257176"/>
            <a:ext cx="847725" cy="400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762" name="TextBox 28"/>
          <p:cNvSpPr txBox="1">
            <a:spLocks noChangeArrowheads="1"/>
          </p:cNvSpPr>
          <p:nvPr/>
        </p:nvSpPr>
        <p:spPr bwMode="auto">
          <a:xfrm>
            <a:off x="152400" y="6467475"/>
            <a:ext cx="886777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36000" rIns="0">
            <a:spAutoFit/>
          </a:bodyPr>
          <a:lstStyle/>
          <a:p>
            <a:r>
              <a:rPr lang="ru-RU" sz="1000" dirty="0" smtClean="0">
                <a:solidFill>
                  <a:srgbClr val="002774"/>
                </a:solidFill>
              </a:rPr>
              <a:t> </a:t>
            </a:r>
            <a:endParaRPr lang="ru-RU" sz="1000" dirty="0">
              <a:solidFill>
                <a:srgbClr val="002774"/>
              </a:solidFill>
            </a:endParaRPr>
          </a:p>
        </p:txBody>
      </p:sp>
    </p:spTree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tangle 75"/>
          <p:cNvSpPr>
            <a:spLocks noChangeArrowheads="1"/>
          </p:cNvSpPr>
          <p:nvPr/>
        </p:nvSpPr>
        <p:spPr bwMode="auto">
          <a:xfrm>
            <a:off x="13230615" y="13765582"/>
            <a:ext cx="91335" cy="45719"/>
          </a:xfrm>
          <a:prstGeom prst="rect">
            <a:avLst/>
          </a:prstGeom>
          <a:solidFill>
            <a:srgbClr val="C00000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371447" y="333375"/>
            <a:ext cx="7134254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  <a:latin typeface="+mj-lt"/>
              </a:rPr>
              <a:t>Документация, разработанная по ВЭ</a:t>
            </a:r>
          </a:p>
          <a:p>
            <a:pPr algn="ctr"/>
            <a:endParaRPr lang="ru-RU" sz="1200" b="1" dirty="0">
              <a:latin typeface="+mn-lt"/>
              <a:cs typeface="Times New Roman" pitchFamily="18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 rot="19556525" flipV="1">
            <a:off x="6641395" y="1375315"/>
            <a:ext cx="177304" cy="1015663"/>
          </a:xfrm>
          <a:prstGeom prst="rect">
            <a:avLst/>
          </a:prstGeom>
          <a:noFill/>
          <a:ln>
            <a:noFill/>
          </a:ln>
          <a:effectLst>
            <a:outerShdw blurRad="203200" dist="419100" dir="10140000" sx="122000" sy="122000" algn="ctr" rotWithShape="0">
              <a:schemeClr val="bg1"/>
            </a:outerShdw>
          </a:effectLst>
        </p:spPr>
        <p:txBody>
          <a:bodyPr wrap="square" rtlCol="0">
            <a:spAutoFit/>
          </a:bodyPr>
          <a:lstStyle/>
          <a:p>
            <a:endParaRPr lang="ru-RU" sz="6000" dirty="0">
              <a:ln>
                <a:solidFill>
                  <a:schemeClr val="accent1"/>
                </a:solidFill>
              </a:ln>
            </a:endParaRPr>
          </a:p>
        </p:txBody>
      </p:sp>
      <p:pic>
        <p:nvPicPr>
          <p:cNvPr id="29" name="Picture 13" descr="logo_AECC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86700" y="171450"/>
            <a:ext cx="1114450" cy="5810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10" name="Содержимое 9"/>
          <p:cNvSpPr>
            <a:spLocks noGrp="1"/>
          </p:cNvSpPr>
          <p:nvPr>
            <p:ph idx="1"/>
          </p:nvPr>
        </p:nvSpPr>
        <p:spPr>
          <a:xfrm>
            <a:off x="477838" y="1528763"/>
            <a:ext cx="8207375" cy="4527550"/>
          </a:xfrm>
        </p:spPr>
        <p:txBody>
          <a:bodyPr/>
          <a:lstStyle/>
          <a:p>
            <a:pPr algn="just">
              <a:buNone/>
            </a:pPr>
            <a:r>
              <a:rPr lang="ru-RU" sz="1600" dirty="0" smtClean="0"/>
              <a:t>	</a:t>
            </a:r>
            <a:r>
              <a:rPr lang="ru-RU" sz="1800" b="1" i="1" dirty="0" smtClean="0">
                <a:solidFill>
                  <a:srgbClr val="002774"/>
                </a:solidFill>
              </a:rPr>
              <a:t>Разработаны концепция и программа вывода из эксплуатации корпуса 2, здание 802, и корпуса 4, здание 804, как части ЯУ производства разделения изотопов урана открытого акционерного общества «Ангарский электролизный химический комбинат»</a:t>
            </a:r>
          </a:p>
          <a:p>
            <a:pPr algn="just"/>
            <a:r>
              <a:rPr lang="ru-RU" sz="1800" b="1" i="1" dirty="0" smtClean="0">
                <a:solidFill>
                  <a:srgbClr val="002774"/>
                </a:solidFill>
              </a:rPr>
              <a:t> Выполнено комплексное инженерное и радиационное обследование зданий 802, 804 и площадки временного хранения</a:t>
            </a:r>
          </a:p>
          <a:p>
            <a:pPr algn="just"/>
            <a:r>
              <a:rPr lang="ru-RU" sz="1800" b="1" i="1" dirty="0" smtClean="0">
                <a:solidFill>
                  <a:srgbClr val="002774"/>
                </a:solidFill>
              </a:rPr>
              <a:t>Выполнены комплексные инженерно-геодезические, геологические, гидрометеорологические, экологические изыскания зданий 802, 804 и площадки временного хранения </a:t>
            </a:r>
          </a:p>
          <a:p>
            <a:pPr algn="just"/>
            <a:r>
              <a:rPr lang="ru-RU" sz="1800" b="1" i="1" dirty="0" smtClean="0">
                <a:solidFill>
                  <a:srgbClr val="002774"/>
                </a:solidFill>
              </a:rPr>
              <a:t>Разработан проект «Вывод из эксплуатации корпуса 2 здания 802 и корпуса 4 здания 804, как части ЯУ производства разделения изотопов урана ОАО «АЭХК». Проект проходит процедуру согласования</a:t>
            </a:r>
          </a:p>
          <a:p>
            <a:endParaRPr lang="ru-RU" sz="1600" b="1" i="1" dirty="0" smtClean="0"/>
          </a:p>
          <a:p>
            <a:endParaRPr lang="ru-RU" sz="1600" dirty="0"/>
          </a:p>
        </p:txBody>
      </p:sp>
      <p:sp>
        <p:nvSpPr>
          <p:cNvPr id="34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7C7ABC-661C-4C14-8BD3-491DF94403DC}" type="slidenum">
              <a:rPr lang="ru-RU" smtClean="0"/>
              <a:pPr/>
              <a:t>13</a:t>
            </a:fld>
            <a:endParaRPr lang="ru-RU" dirty="0"/>
          </a:p>
        </p:txBody>
      </p:sp>
    </p:spTree>
  </p:cSld>
  <p:clrMapOvr>
    <a:masterClrMapping/>
  </p:clrMapOvr>
  <p:transition>
    <p:wipe dir="d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облемы вывода из эксплуатации зданий 802, 804</a:t>
            </a:r>
            <a:endParaRPr lang="ru-RU" sz="20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47650" y="1333501"/>
            <a:ext cx="8601075" cy="4810124"/>
          </a:xfrm>
        </p:spPr>
        <p:txBody>
          <a:bodyPr/>
          <a:lstStyle/>
          <a:p>
            <a:pPr marL="180000" indent="-360000" algn="just">
              <a:spcBef>
                <a:spcPts val="600"/>
              </a:spcBef>
              <a:spcAft>
                <a:spcPts val="600"/>
              </a:spcAft>
            </a:pPr>
            <a:r>
              <a:rPr lang="ru-RU" sz="1800" b="1" i="1" dirty="0" smtClean="0">
                <a:solidFill>
                  <a:srgbClr val="002774"/>
                </a:solidFill>
              </a:rPr>
              <a:t>1. Не решен вопрос </a:t>
            </a:r>
            <a:r>
              <a:rPr lang="ru-RU" sz="1800" b="1" i="1" dirty="0" smtClean="0">
                <a:solidFill>
                  <a:srgbClr val="002774"/>
                </a:solidFill>
              </a:rPr>
              <a:t>отнесения  </a:t>
            </a:r>
            <a:r>
              <a:rPr lang="ru-RU" sz="1800" b="1" i="1" dirty="0" smtClean="0">
                <a:solidFill>
                  <a:srgbClr val="002774"/>
                </a:solidFill>
              </a:rPr>
              <a:t>РАО, образующихся при выводе из эксплуатации объектов, выведенных из технологического процесса до изменения формы </a:t>
            </a:r>
            <a:r>
              <a:rPr lang="ru-RU" sz="1800" b="1" i="1" dirty="0" smtClean="0">
                <a:solidFill>
                  <a:srgbClr val="002774"/>
                </a:solidFill>
              </a:rPr>
              <a:t>собственности эксплуатирующей </a:t>
            </a:r>
            <a:r>
              <a:rPr lang="ru-RU" sz="1800" b="1" i="1" dirty="0" smtClean="0">
                <a:solidFill>
                  <a:srgbClr val="002774"/>
                </a:solidFill>
              </a:rPr>
              <a:t>организации и принятия Федерального закона № </a:t>
            </a:r>
            <a:r>
              <a:rPr lang="ru-RU" sz="1800" b="1" i="1" dirty="0" smtClean="0">
                <a:solidFill>
                  <a:srgbClr val="002774"/>
                </a:solidFill>
              </a:rPr>
              <a:t>190-ФЗ, к федеральной собственности. </a:t>
            </a:r>
            <a:endParaRPr lang="ru-RU" sz="1800" b="1" i="1" dirty="0" smtClean="0">
              <a:solidFill>
                <a:srgbClr val="002774"/>
              </a:solidFill>
            </a:endParaRPr>
          </a:p>
          <a:p>
            <a:pPr marL="180000" indent="-360000" algn="just">
              <a:spcBef>
                <a:spcPts val="600"/>
              </a:spcBef>
              <a:spcAft>
                <a:spcPts val="600"/>
              </a:spcAft>
            </a:pPr>
            <a:r>
              <a:rPr lang="ru-RU" sz="1800" b="1" i="1" dirty="0" smtClean="0">
                <a:solidFill>
                  <a:srgbClr val="002774"/>
                </a:solidFill>
              </a:rPr>
              <a:t>2. ОАО «АЭХК» не располагает технологиями, производственными мощностями  и ресурсами по переработке большого количества РАО, образующихся при </a:t>
            </a:r>
            <a:r>
              <a:rPr lang="ru-RU" sz="1800" b="1" i="1" dirty="0" smtClean="0">
                <a:solidFill>
                  <a:srgbClr val="002774"/>
                </a:solidFill>
              </a:rPr>
              <a:t>выводе из эксплуатации </a:t>
            </a:r>
            <a:r>
              <a:rPr lang="ru-RU" sz="1800" b="1" i="1" dirty="0" smtClean="0">
                <a:solidFill>
                  <a:srgbClr val="002774"/>
                </a:solidFill>
              </a:rPr>
              <a:t>таких крупных объектов,  как корпуса разделительного завода. </a:t>
            </a:r>
          </a:p>
          <a:p>
            <a:pPr marL="180000" indent="-360000" algn="just">
              <a:spcBef>
                <a:spcPts val="600"/>
              </a:spcBef>
              <a:spcAft>
                <a:spcPts val="600"/>
              </a:spcAft>
            </a:pPr>
            <a:r>
              <a:rPr lang="ru-RU" sz="1800" b="1" i="1" dirty="0" smtClean="0">
                <a:solidFill>
                  <a:srgbClr val="002774"/>
                </a:solidFill>
              </a:rPr>
              <a:t>3. ОАО «АЭХК» не обладает возможностями для временного хранения  большого количества РАО, образующихся  при выполнении работ по </a:t>
            </a:r>
            <a:r>
              <a:rPr lang="ru-RU" sz="1800" b="1" i="1" dirty="0" smtClean="0">
                <a:solidFill>
                  <a:srgbClr val="002774"/>
                </a:solidFill>
              </a:rPr>
              <a:t>выводу из эксплуатации, </a:t>
            </a:r>
            <a:r>
              <a:rPr lang="ru-RU" sz="1800" b="1" i="1" dirty="0" smtClean="0">
                <a:solidFill>
                  <a:srgbClr val="002774"/>
                </a:solidFill>
              </a:rPr>
              <a:t>на </a:t>
            </a:r>
            <a:r>
              <a:rPr lang="ru-RU" sz="1800" b="1" i="1" dirty="0" err="1" smtClean="0">
                <a:solidFill>
                  <a:srgbClr val="002774"/>
                </a:solidFill>
              </a:rPr>
              <a:t>промплощадке</a:t>
            </a:r>
            <a:r>
              <a:rPr lang="ru-RU" sz="1800" b="1" i="1" dirty="0" smtClean="0">
                <a:solidFill>
                  <a:srgbClr val="002774"/>
                </a:solidFill>
              </a:rPr>
              <a:t>, находящейся в черте </a:t>
            </a:r>
            <a:r>
              <a:rPr lang="ru-RU" sz="1800" b="1" i="1" dirty="0" smtClean="0">
                <a:solidFill>
                  <a:srgbClr val="002774"/>
                </a:solidFill>
              </a:rPr>
              <a:t>населенного пункта города </a:t>
            </a:r>
            <a:r>
              <a:rPr lang="ru-RU" sz="1800" b="1" i="1" dirty="0" err="1" smtClean="0">
                <a:solidFill>
                  <a:srgbClr val="002774"/>
                </a:solidFill>
              </a:rPr>
              <a:t>Ангарска</a:t>
            </a:r>
            <a:r>
              <a:rPr lang="ru-RU" sz="1800" b="1" i="1" dirty="0" smtClean="0">
                <a:solidFill>
                  <a:srgbClr val="002774"/>
                </a:solidFill>
              </a:rPr>
              <a:t>. </a:t>
            </a:r>
          </a:p>
          <a:p>
            <a:pPr marL="180000" indent="-360000" algn="just">
              <a:spcBef>
                <a:spcPts val="600"/>
              </a:spcBef>
              <a:spcAft>
                <a:spcPts val="600"/>
              </a:spcAft>
            </a:pPr>
            <a:endParaRPr lang="ru-RU" sz="1800" b="1" i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865B08-BF9F-44CD-A412-44DE6DACDA29}" type="slidenum">
              <a:rPr lang="ru-RU" smtClean="0"/>
              <a:pPr>
                <a:defRPr/>
              </a:pPr>
              <a:t>14</a:t>
            </a:fld>
            <a:endParaRPr lang="ru-RU" dirty="0"/>
          </a:p>
        </p:txBody>
      </p:sp>
      <p:pic>
        <p:nvPicPr>
          <p:cNvPr id="5" name="Picture 13" descr="logo_AECC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86700" y="171450"/>
            <a:ext cx="1114450" cy="5810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 smtClean="0">
                <a:solidFill>
                  <a:srgbClr val="091D5D"/>
                </a:solidFill>
                <a:latin typeface="Arial" pitchFamily="34" charset="0"/>
                <a:cs typeface="Arial" pitchFamily="34" charset="0"/>
              </a:rPr>
              <a:t>Пути решения проблем</a:t>
            </a:r>
            <a:endParaRPr lang="ru-RU" sz="2000" dirty="0">
              <a:solidFill>
                <a:srgbClr val="091D5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68313" y="1557337"/>
            <a:ext cx="8207375" cy="4681537"/>
          </a:xfrm>
        </p:spPr>
        <p:txBody>
          <a:bodyPr/>
          <a:lstStyle/>
          <a:p>
            <a:pPr algn="just"/>
            <a:r>
              <a:rPr lang="ru-RU" sz="1800" b="1" i="1" dirty="0" smtClean="0">
                <a:solidFill>
                  <a:srgbClr val="002774"/>
                </a:solidFill>
              </a:rPr>
              <a:t>1. </a:t>
            </a:r>
            <a:r>
              <a:rPr lang="ru-RU" sz="1800" b="1" i="1" dirty="0" smtClean="0">
                <a:solidFill>
                  <a:srgbClr val="002774"/>
                </a:solidFill>
              </a:rPr>
              <a:t>Разработка порядка </a:t>
            </a:r>
            <a:r>
              <a:rPr lang="ru-RU" sz="1800" b="1" i="1" dirty="0" smtClean="0">
                <a:solidFill>
                  <a:srgbClr val="002774"/>
                </a:solidFill>
              </a:rPr>
              <a:t>отнесения РАО, образующихся при выполнении работ по ВЭ объектов, выведенных из технологического процесса до принятия Федерального закона №190-ФЗ, к федеральной собственности при регистрации РАО.</a:t>
            </a:r>
          </a:p>
          <a:p>
            <a:pPr algn="just"/>
            <a:r>
              <a:rPr lang="ru-RU" sz="1800" b="1" i="1" dirty="0" smtClean="0">
                <a:solidFill>
                  <a:srgbClr val="002774"/>
                </a:solidFill>
              </a:rPr>
              <a:t>2. Привлечение специализированной </a:t>
            </a:r>
            <a:r>
              <a:rPr lang="ru-RU" sz="1800" b="1" i="1" dirty="0" smtClean="0">
                <a:solidFill>
                  <a:srgbClr val="002774"/>
                </a:solidFill>
              </a:rPr>
              <a:t>организации (например, ФГУП «</a:t>
            </a:r>
            <a:r>
              <a:rPr lang="ru-RU" sz="1800" b="1" i="1" dirty="0" err="1" smtClean="0">
                <a:solidFill>
                  <a:srgbClr val="002774"/>
                </a:solidFill>
              </a:rPr>
              <a:t>РосРАО</a:t>
            </a:r>
            <a:r>
              <a:rPr lang="ru-RU" sz="1800" b="1" i="1" dirty="0" smtClean="0">
                <a:solidFill>
                  <a:srgbClr val="002774"/>
                </a:solidFill>
              </a:rPr>
              <a:t>) для </a:t>
            </a:r>
            <a:r>
              <a:rPr lang="ru-RU" sz="1800" b="1" i="1" dirty="0" smtClean="0">
                <a:solidFill>
                  <a:srgbClr val="002774"/>
                </a:solidFill>
              </a:rPr>
              <a:t>выполнения работ по сбору, переработке и временному хранению РАО, образующихся при ВЭ зданий 802, 804 ОАО «АЭХК</a:t>
            </a:r>
            <a:r>
              <a:rPr lang="ru-RU" sz="1800" b="1" i="1" dirty="0" smtClean="0">
                <a:solidFill>
                  <a:srgbClr val="002774"/>
                </a:solidFill>
              </a:rPr>
              <a:t>».</a:t>
            </a:r>
            <a:endParaRPr lang="ru-RU" sz="1800" b="1" i="1" dirty="0" smtClean="0">
              <a:solidFill>
                <a:srgbClr val="002774"/>
              </a:solidFill>
            </a:endParaRPr>
          </a:p>
          <a:p>
            <a:pPr algn="just"/>
            <a:r>
              <a:rPr lang="ru-RU" sz="1800" b="1" i="1" dirty="0" smtClean="0">
                <a:solidFill>
                  <a:srgbClr val="002774"/>
                </a:solidFill>
              </a:rPr>
              <a:t>3. </a:t>
            </a:r>
            <a:r>
              <a:rPr lang="ru-RU" sz="1800" b="1" i="1" dirty="0" smtClean="0">
                <a:solidFill>
                  <a:srgbClr val="002774"/>
                </a:solidFill>
              </a:rPr>
              <a:t>Использование ресурсов </a:t>
            </a:r>
            <a:r>
              <a:rPr lang="ru-RU" sz="1800" b="1" i="1" dirty="0" smtClean="0">
                <a:solidFill>
                  <a:srgbClr val="002774"/>
                </a:solidFill>
              </a:rPr>
              <a:t>Иркутского отделения Филиала ФГУП «</a:t>
            </a:r>
            <a:r>
              <a:rPr lang="ru-RU" sz="1800" b="1" i="1" dirty="0" err="1" smtClean="0">
                <a:solidFill>
                  <a:srgbClr val="002774"/>
                </a:solidFill>
              </a:rPr>
              <a:t>РосРАО</a:t>
            </a:r>
            <a:r>
              <a:rPr lang="ru-RU" sz="1800" b="1" i="1" dirty="0" smtClean="0">
                <a:solidFill>
                  <a:srgbClr val="002774"/>
                </a:solidFill>
              </a:rPr>
              <a:t>» (персонал, оборудование, площадки и сооружения пункта хранения РАО) для временного хранения РАО, образующихся при ВЭ, с последующей передачей РАО национальному оператору. Организация на площадке </a:t>
            </a:r>
            <a:r>
              <a:rPr lang="ru-RU" sz="1800" b="1" i="1" dirty="0" smtClean="0">
                <a:solidFill>
                  <a:srgbClr val="002774"/>
                </a:solidFill>
              </a:rPr>
              <a:t>Иркутского </a:t>
            </a:r>
            <a:r>
              <a:rPr lang="ru-RU" sz="1800" b="1" i="1" dirty="0" smtClean="0">
                <a:solidFill>
                  <a:srgbClr val="002774"/>
                </a:solidFill>
              </a:rPr>
              <a:t>отделения Филиала ФГУП «</a:t>
            </a:r>
            <a:r>
              <a:rPr lang="ru-RU" sz="1800" b="1" i="1" dirty="0" err="1" smtClean="0">
                <a:solidFill>
                  <a:srgbClr val="002774"/>
                </a:solidFill>
              </a:rPr>
              <a:t>РосРАО</a:t>
            </a:r>
            <a:r>
              <a:rPr lang="ru-RU" sz="1800" b="1" i="1" dirty="0" smtClean="0">
                <a:solidFill>
                  <a:srgbClr val="002774"/>
                </a:solidFill>
              </a:rPr>
              <a:t>» </a:t>
            </a:r>
            <a:r>
              <a:rPr lang="ru-RU" sz="1800" b="1" i="1" dirty="0" smtClean="0">
                <a:solidFill>
                  <a:srgbClr val="002774"/>
                </a:solidFill>
              </a:rPr>
              <a:t>пунктов </a:t>
            </a:r>
            <a:r>
              <a:rPr lang="ru-RU" sz="1800" b="1" i="1" dirty="0" smtClean="0">
                <a:solidFill>
                  <a:srgbClr val="002774"/>
                </a:solidFill>
              </a:rPr>
              <a:t>окончательной изоляции РАО низкой и очень низкой активности.</a:t>
            </a:r>
          </a:p>
          <a:p>
            <a:pPr algn="just"/>
            <a:endParaRPr lang="ru-RU" sz="1800" b="1" i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865B08-BF9F-44CD-A412-44DE6DACDA29}" type="slidenum">
              <a:rPr lang="ru-RU" smtClean="0"/>
              <a:pPr>
                <a:defRPr/>
              </a:pPr>
              <a:t>15</a:t>
            </a:fld>
            <a:endParaRPr lang="ru-RU" dirty="0"/>
          </a:p>
        </p:txBody>
      </p:sp>
      <p:pic>
        <p:nvPicPr>
          <p:cNvPr id="5" name="Picture 13" descr="logo_AECC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86700" y="171450"/>
            <a:ext cx="1114450" cy="5810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1448AF0-BE91-4D55-9853-8491BF9CAA3B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  <p:sp>
        <p:nvSpPr>
          <p:cNvPr id="79875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55600" y="179388"/>
            <a:ext cx="8207375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90000"/>
              </a:lnSpc>
            </a:pPr>
            <a:endParaRPr lang="ru-RU" sz="2000" b="1" dirty="0">
              <a:solidFill>
                <a:srgbClr val="091D5D"/>
              </a:solidFill>
            </a:endParaRPr>
          </a:p>
        </p:txBody>
      </p:sp>
      <p:sp>
        <p:nvSpPr>
          <p:cNvPr id="79876" name="Прямоугольник 5"/>
          <p:cNvSpPr>
            <a:spLocks noChangeArrowheads="1"/>
          </p:cNvSpPr>
          <p:nvPr/>
        </p:nvSpPr>
        <p:spPr bwMode="auto">
          <a:xfrm>
            <a:off x="331788" y="2476501"/>
            <a:ext cx="8250237" cy="160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4400" b="1" dirty="0" smtClean="0">
                <a:solidFill>
                  <a:srgbClr val="002774"/>
                </a:solidFill>
              </a:rPr>
              <a:t>СПАСИБО ЗА ВНИМАНИЕ!</a:t>
            </a:r>
          </a:p>
          <a:p>
            <a:pPr marL="342900" indent="-342900" algn="just"/>
            <a:endParaRPr lang="ru-RU" b="1" dirty="0" smtClean="0">
              <a:solidFill>
                <a:srgbClr val="002060"/>
              </a:solidFill>
            </a:endParaRPr>
          </a:p>
          <a:p>
            <a:pPr marL="342900" indent="-342900" algn="just"/>
            <a:endParaRPr lang="ru-RU" b="1" dirty="0">
              <a:solidFill>
                <a:srgbClr val="002060"/>
              </a:solidFill>
            </a:endParaRPr>
          </a:p>
          <a:p>
            <a:pPr marL="342900" indent="-342900" algn="just"/>
            <a:endParaRPr lang="ru-RU" b="1" dirty="0">
              <a:solidFill>
                <a:srgbClr val="002060"/>
              </a:solidFill>
            </a:endParaRPr>
          </a:p>
        </p:txBody>
      </p:sp>
      <p:pic>
        <p:nvPicPr>
          <p:cNvPr id="79877" name="Picture 13" descr="logo_AECC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20050" y="171450"/>
            <a:ext cx="981075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34BE95C-4B55-44CD-8170-F571A1F21CED}" type="slidenum">
              <a:rPr lang="ru-RU" smtClean="0"/>
              <a:pPr>
                <a:defRPr/>
              </a:pPr>
              <a:t>2</a:t>
            </a:fld>
            <a:endParaRPr lang="ru-RU" dirty="0"/>
          </a:p>
        </p:txBody>
      </p:sp>
      <p:sp>
        <p:nvSpPr>
          <p:cNvPr id="3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55600" y="179388"/>
            <a:ext cx="8207375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90000"/>
              </a:lnSpc>
            </a:pPr>
            <a:r>
              <a:rPr lang="ru-RU" sz="2000" b="1" dirty="0" smtClean="0">
                <a:solidFill>
                  <a:srgbClr val="091D5D"/>
                </a:solidFill>
              </a:rPr>
              <a:t>Информация об объекте ВЭ</a:t>
            </a:r>
            <a:endParaRPr lang="ru-RU" sz="2000" dirty="0">
              <a:solidFill>
                <a:srgbClr val="091D5D"/>
              </a:solidFill>
            </a:endParaRPr>
          </a:p>
        </p:txBody>
      </p:sp>
      <p:pic>
        <p:nvPicPr>
          <p:cNvPr id="4" name="Picture 13" descr="logo_AECC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72377" y="255937"/>
            <a:ext cx="1228724" cy="496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2875" y="1219201"/>
            <a:ext cx="4476750" cy="4857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6"/>
          <p:cNvSpPr txBox="1">
            <a:spLocks noChangeArrowheads="1"/>
          </p:cNvSpPr>
          <p:nvPr/>
        </p:nvSpPr>
        <p:spPr bwMode="auto">
          <a:xfrm>
            <a:off x="4676775" y="1047749"/>
            <a:ext cx="4467225" cy="6432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endParaRPr lang="ru-RU" sz="1400" i="1" dirty="0" smtClean="0">
              <a:solidFill>
                <a:srgbClr val="002060"/>
              </a:solidFill>
            </a:endParaRPr>
          </a:p>
          <a:p>
            <a:pPr algn="just">
              <a:spcAft>
                <a:spcPts val="600"/>
              </a:spcAft>
            </a:pPr>
            <a:r>
              <a:rPr lang="ru-RU" sz="1400" b="1" i="1" dirty="0" smtClean="0">
                <a:solidFill>
                  <a:srgbClr val="002060"/>
                </a:solidFill>
              </a:rPr>
              <a:t>Оборудование зданий 802, 804 входило в состав ядерной установки производства по разделению изотопов урана </a:t>
            </a:r>
            <a:r>
              <a:rPr lang="ru-RU" sz="1400" b="1" i="1" dirty="0" err="1" smtClean="0">
                <a:solidFill>
                  <a:srgbClr val="002060"/>
                </a:solidFill>
              </a:rPr>
              <a:t>газодиффу-зионным</a:t>
            </a:r>
            <a:r>
              <a:rPr lang="ru-RU" sz="1400" b="1" i="1" dirty="0" smtClean="0">
                <a:solidFill>
                  <a:srgbClr val="002060"/>
                </a:solidFill>
              </a:rPr>
              <a:t> </a:t>
            </a:r>
            <a:r>
              <a:rPr lang="ru-RU" sz="1400" b="1" i="1" dirty="0" smtClean="0">
                <a:solidFill>
                  <a:srgbClr val="002060"/>
                </a:solidFill>
              </a:rPr>
              <a:t>методом.</a:t>
            </a:r>
          </a:p>
          <a:p>
            <a:pPr>
              <a:spcAft>
                <a:spcPts val="0"/>
              </a:spcAft>
            </a:pPr>
            <a:r>
              <a:rPr lang="ru-RU" sz="1400" b="1" i="1" dirty="0" smtClean="0">
                <a:solidFill>
                  <a:srgbClr val="002060"/>
                </a:solidFill>
              </a:rPr>
              <a:t>Ввод </a:t>
            </a:r>
            <a:r>
              <a:rPr lang="ru-RU" sz="1400" b="1" i="1" dirty="0">
                <a:solidFill>
                  <a:srgbClr val="002060"/>
                </a:solidFill>
              </a:rPr>
              <a:t>в эксплуатацию: </a:t>
            </a:r>
            <a:r>
              <a:rPr lang="ru-RU" sz="1400" b="1" i="1" dirty="0" smtClean="0">
                <a:solidFill>
                  <a:srgbClr val="002060"/>
                </a:solidFill>
              </a:rPr>
              <a:t> </a:t>
            </a:r>
          </a:p>
          <a:p>
            <a:pPr>
              <a:spcAft>
                <a:spcPts val="0"/>
              </a:spcAft>
            </a:pPr>
            <a:r>
              <a:rPr lang="ru-RU" sz="1400" b="1" i="1" dirty="0" smtClean="0">
                <a:solidFill>
                  <a:srgbClr val="002060"/>
                </a:solidFill>
              </a:rPr>
              <a:t>здание 802 </a:t>
            </a:r>
            <a:r>
              <a:rPr lang="ru-RU" sz="1400" b="1" i="1" dirty="0">
                <a:solidFill>
                  <a:srgbClr val="002060"/>
                </a:solidFill>
              </a:rPr>
              <a:t>– 1958 год, </a:t>
            </a:r>
            <a:endParaRPr lang="ru-RU" sz="1400" b="1" i="1" dirty="0" smtClean="0">
              <a:solidFill>
                <a:srgbClr val="002060"/>
              </a:solidFill>
            </a:endParaRPr>
          </a:p>
          <a:p>
            <a:pPr>
              <a:spcAft>
                <a:spcPts val="600"/>
              </a:spcAft>
            </a:pPr>
            <a:r>
              <a:rPr lang="ru-RU" sz="1400" b="1" i="1" dirty="0" smtClean="0">
                <a:solidFill>
                  <a:srgbClr val="002060"/>
                </a:solidFill>
              </a:rPr>
              <a:t>здание 804 </a:t>
            </a:r>
            <a:r>
              <a:rPr lang="ru-RU" sz="1400" b="1" i="1" dirty="0">
                <a:solidFill>
                  <a:srgbClr val="002060"/>
                </a:solidFill>
              </a:rPr>
              <a:t>– 1962  год</a:t>
            </a:r>
            <a:r>
              <a:rPr lang="ru-RU" sz="1400" b="1" i="1" dirty="0" smtClean="0">
                <a:solidFill>
                  <a:srgbClr val="002060"/>
                </a:solidFill>
              </a:rPr>
              <a:t>.</a:t>
            </a:r>
          </a:p>
          <a:p>
            <a:r>
              <a:rPr lang="ru-RU" sz="1400" b="1" i="1" dirty="0" smtClean="0">
                <a:solidFill>
                  <a:srgbClr val="002060"/>
                </a:solidFill>
              </a:rPr>
              <a:t>Останов оборудования был выполнен:  </a:t>
            </a:r>
          </a:p>
          <a:p>
            <a:r>
              <a:rPr lang="ru-RU" sz="1400" b="1" i="1" dirty="0" smtClean="0">
                <a:solidFill>
                  <a:srgbClr val="002060"/>
                </a:solidFill>
              </a:rPr>
              <a:t>здание 802 </a:t>
            </a:r>
            <a:r>
              <a:rPr lang="ru-RU" sz="1400" b="1" i="1" dirty="0">
                <a:solidFill>
                  <a:srgbClr val="002060"/>
                </a:solidFill>
              </a:rPr>
              <a:t>– </a:t>
            </a:r>
            <a:r>
              <a:rPr lang="ru-RU" sz="1400" b="1" i="1" dirty="0" smtClean="0">
                <a:solidFill>
                  <a:srgbClr val="002060"/>
                </a:solidFill>
              </a:rPr>
              <a:t>в декабре 1987 года,</a:t>
            </a:r>
          </a:p>
          <a:p>
            <a:pPr>
              <a:spcAft>
                <a:spcPts val="600"/>
              </a:spcAft>
            </a:pPr>
            <a:r>
              <a:rPr lang="ru-RU" sz="1400" b="1" i="1" dirty="0" smtClean="0">
                <a:solidFill>
                  <a:srgbClr val="002060"/>
                </a:solidFill>
              </a:rPr>
              <a:t> здание 804 </a:t>
            </a:r>
            <a:r>
              <a:rPr lang="ru-RU" sz="1400" b="1" i="1" dirty="0">
                <a:solidFill>
                  <a:srgbClr val="002060"/>
                </a:solidFill>
              </a:rPr>
              <a:t>– </a:t>
            </a:r>
            <a:r>
              <a:rPr lang="ru-RU" sz="1400" b="1" i="1" dirty="0" smtClean="0">
                <a:solidFill>
                  <a:srgbClr val="002060"/>
                </a:solidFill>
              </a:rPr>
              <a:t>в июле 1990 года.</a:t>
            </a:r>
          </a:p>
          <a:p>
            <a:pPr>
              <a:spcAft>
                <a:spcPts val="600"/>
              </a:spcAft>
            </a:pPr>
            <a:r>
              <a:rPr lang="ru-RU" sz="1400" b="1" i="1" dirty="0" smtClean="0">
                <a:solidFill>
                  <a:srgbClr val="002060"/>
                </a:solidFill>
              </a:rPr>
              <a:t>С 1996 года прекращено электроснабжение и отопление зданий  802 и 804. </a:t>
            </a:r>
            <a:endParaRPr lang="ru-RU" sz="1400" b="1" i="1" dirty="0" smtClean="0">
              <a:solidFill>
                <a:srgbClr val="002060"/>
              </a:solidFill>
            </a:endParaRPr>
          </a:p>
          <a:p>
            <a:r>
              <a:rPr lang="ru-RU" sz="1400" b="1" i="1" dirty="0" smtClean="0">
                <a:solidFill>
                  <a:srgbClr val="002060"/>
                </a:solidFill>
              </a:rPr>
              <a:t>Общее </a:t>
            </a:r>
            <a:r>
              <a:rPr lang="ru-RU" sz="1400" b="1" i="1" dirty="0" smtClean="0">
                <a:solidFill>
                  <a:srgbClr val="002060"/>
                </a:solidFill>
              </a:rPr>
              <a:t>техническое состояние зданий  характеризуется как недопустимое. </a:t>
            </a:r>
            <a:endParaRPr lang="ru-RU" sz="1400" b="1" i="1" dirty="0" smtClean="0">
              <a:solidFill>
                <a:srgbClr val="002060"/>
              </a:solidFill>
            </a:endParaRPr>
          </a:p>
          <a:p>
            <a:r>
              <a:rPr lang="ru-RU" sz="1400" b="1" i="1" dirty="0" smtClean="0">
                <a:solidFill>
                  <a:srgbClr val="002060"/>
                </a:solidFill>
              </a:rPr>
              <a:t>Здания </a:t>
            </a:r>
            <a:r>
              <a:rPr lang="ru-RU" sz="1400" b="1" i="1" dirty="0" smtClean="0">
                <a:solidFill>
                  <a:srgbClr val="002060"/>
                </a:solidFill>
              </a:rPr>
              <a:t>закрыты для посещения.</a:t>
            </a:r>
          </a:p>
          <a:p>
            <a:endParaRPr lang="ru-RU" sz="1400" b="1" i="1" dirty="0" smtClean="0">
              <a:solidFill>
                <a:srgbClr val="002060"/>
              </a:solidFill>
            </a:endParaRPr>
          </a:p>
          <a:p>
            <a:r>
              <a:rPr lang="ru-RU" sz="1400" b="1" i="1" dirty="0" smtClean="0">
                <a:solidFill>
                  <a:srgbClr val="002060"/>
                </a:solidFill>
              </a:rPr>
              <a:t>Подлежат выводу из эксплуатации по варианту «ликвидация».</a:t>
            </a:r>
          </a:p>
          <a:p>
            <a:endParaRPr lang="ru-RU" sz="1400" i="1" dirty="0" smtClean="0">
              <a:solidFill>
                <a:srgbClr val="002060"/>
              </a:solidFill>
            </a:endParaRPr>
          </a:p>
          <a:p>
            <a:r>
              <a:rPr lang="ru-RU" sz="1400" i="1" dirty="0" smtClean="0">
                <a:solidFill>
                  <a:srgbClr val="002060"/>
                </a:solidFill>
              </a:rPr>
              <a:t> </a:t>
            </a:r>
          </a:p>
          <a:p>
            <a:endParaRPr lang="ru-RU" sz="1400" i="1" dirty="0" smtClean="0">
              <a:solidFill>
                <a:srgbClr val="002060"/>
              </a:solidFill>
            </a:endParaRPr>
          </a:p>
          <a:p>
            <a:endParaRPr lang="ru-RU" sz="1400" i="1" dirty="0" smtClean="0">
              <a:solidFill>
                <a:srgbClr val="002060"/>
              </a:solidFill>
            </a:endParaRPr>
          </a:p>
          <a:p>
            <a:endParaRPr lang="ru-RU" sz="1400" i="1" dirty="0" smtClean="0">
              <a:solidFill>
                <a:srgbClr val="002060"/>
              </a:solidFill>
            </a:endParaRPr>
          </a:p>
          <a:p>
            <a:endParaRPr lang="ru-RU" sz="1400" i="1" dirty="0" smtClean="0">
              <a:solidFill>
                <a:srgbClr val="002060"/>
              </a:solidFill>
            </a:endParaRPr>
          </a:p>
          <a:p>
            <a:endParaRPr lang="ru-RU" sz="1400" i="1" dirty="0" smtClean="0">
              <a:solidFill>
                <a:srgbClr val="002060"/>
              </a:solidFill>
            </a:endParaRPr>
          </a:p>
          <a:p>
            <a:endParaRPr lang="ru-RU" sz="1400" i="1" dirty="0">
              <a:solidFill>
                <a:srgbClr val="002060"/>
              </a:solidFill>
            </a:endParaRPr>
          </a:p>
          <a:p>
            <a:endParaRPr lang="ru-RU" sz="1400" i="1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68319" y="77791"/>
            <a:ext cx="8207375" cy="684210"/>
          </a:xfrm>
        </p:spPr>
        <p:txBody>
          <a:bodyPr/>
          <a:lstStyle/>
          <a:p>
            <a:r>
              <a:rPr lang="ru-RU" sz="2000" dirty="0" smtClean="0">
                <a:solidFill>
                  <a:srgbClr val="091D5D"/>
                </a:solidFill>
                <a:latin typeface="Arial" pitchFamily="34" charset="0"/>
                <a:cs typeface="Arial" pitchFamily="34" charset="0"/>
              </a:rPr>
              <a:t>Характеристики зданий 802, 804</a:t>
            </a:r>
            <a:endParaRPr lang="ru-RU" sz="2000" dirty="0">
              <a:solidFill>
                <a:srgbClr val="091D5D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Содержимое 4"/>
          <p:cNvSpPr>
            <a:spLocks noGrp="1"/>
          </p:cNvSpPr>
          <p:nvPr>
            <p:ph sz="half" idx="2"/>
          </p:nvPr>
        </p:nvSpPr>
        <p:spPr>
          <a:xfrm>
            <a:off x="5086349" y="1019173"/>
            <a:ext cx="3867151" cy="5581651"/>
          </a:xfrm>
        </p:spPr>
        <p:txBody>
          <a:bodyPr/>
          <a:lstStyle/>
          <a:p>
            <a:pPr marL="0" indent="36000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 i="1" dirty="0" smtClean="0">
                <a:solidFill>
                  <a:srgbClr val="002774"/>
                </a:solidFill>
              </a:rPr>
              <a:t>Здания 802,804 – одноэтажные </a:t>
            </a:r>
            <a:r>
              <a:rPr lang="ru-RU" sz="1400" b="1" i="1" dirty="0" err="1" smtClean="0">
                <a:solidFill>
                  <a:srgbClr val="002774"/>
                </a:solidFill>
              </a:rPr>
              <a:t>двухпролетные</a:t>
            </a:r>
            <a:r>
              <a:rPr lang="ru-RU" sz="1400" b="1" i="1" dirty="0" smtClean="0">
                <a:solidFill>
                  <a:srgbClr val="002774"/>
                </a:solidFill>
              </a:rPr>
              <a:t>  строения  с подвалом, с размерами в </a:t>
            </a:r>
            <a:r>
              <a:rPr lang="ru-RU" sz="1400" b="1" i="1" dirty="0" smtClean="0">
                <a:solidFill>
                  <a:srgbClr val="002774"/>
                </a:solidFill>
              </a:rPr>
              <a:t>осях</a:t>
            </a:r>
          </a:p>
          <a:p>
            <a:pPr marL="0" indent="360000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400" b="1" i="1" dirty="0" smtClean="0">
                <a:solidFill>
                  <a:srgbClr val="002774"/>
                </a:solidFill>
              </a:rPr>
              <a:t> </a:t>
            </a:r>
            <a:r>
              <a:rPr lang="ru-RU" sz="1400" b="1" i="1" dirty="0" smtClean="0">
                <a:solidFill>
                  <a:srgbClr val="002774"/>
                </a:solidFill>
              </a:rPr>
              <a:t>66,6 м </a:t>
            </a:r>
            <a:r>
              <a:rPr lang="ru-RU" sz="1400" b="1" i="1" dirty="0" err="1" smtClean="0">
                <a:solidFill>
                  <a:srgbClr val="002774"/>
                </a:solidFill>
              </a:rPr>
              <a:t>х</a:t>
            </a:r>
            <a:r>
              <a:rPr lang="ru-RU" sz="1400" b="1" i="1" dirty="0" smtClean="0">
                <a:solidFill>
                  <a:srgbClr val="002774"/>
                </a:solidFill>
              </a:rPr>
              <a:t> 963,5 м  и 67 м </a:t>
            </a:r>
            <a:r>
              <a:rPr lang="ru-RU" sz="1400" b="1" i="1" dirty="0" err="1" smtClean="0">
                <a:solidFill>
                  <a:srgbClr val="002774"/>
                </a:solidFill>
              </a:rPr>
              <a:t>х</a:t>
            </a:r>
            <a:r>
              <a:rPr lang="ru-RU" sz="1400" b="1" i="1" dirty="0" smtClean="0">
                <a:solidFill>
                  <a:srgbClr val="002774"/>
                </a:solidFill>
              </a:rPr>
              <a:t> 957,5 м соответственно.  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 i="1" dirty="0" smtClean="0">
                <a:solidFill>
                  <a:srgbClr val="002774"/>
                </a:solidFill>
              </a:rPr>
              <a:t>Площадь  застройки: 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 i="1" dirty="0" smtClean="0">
                <a:solidFill>
                  <a:srgbClr val="002774"/>
                </a:solidFill>
              </a:rPr>
              <a:t>здание 802 – 65 802  </a:t>
            </a:r>
            <a:r>
              <a:rPr lang="ru-RU" sz="1400" b="1" i="1" dirty="0" smtClean="0">
                <a:solidFill>
                  <a:srgbClr val="002774"/>
                </a:solidFill>
              </a:rPr>
              <a:t>м</a:t>
            </a:r>
            <a:r>
              <a:rPr lang="ru-RU" sz="1400" b="1" i="1" baseline="30000" dirty="0" smtClean="0">
                <a:solidFill>
                  <a:srgbClr val="002774"/>
                </a:solidFill>
              </a:rPr>
              <a:t>2</a:t>
            </a:r>
            <a:r>
              <a:rPr lang="ru-RU" sz="1400" b="1" i="1" dirty="0" smtClean="0">
                <a:solidFill>
                  <a:srgbClr val="002774"/>
                </a:solidFill>
              </a:rPr>
              <a:t>,</a:t>
            </a:r>
            <a:r>
              <a:rPr lang="ru-RU" sz="1400" b="1" i="1" dirty="0" smtClean="0">
                <a:solidFill>
                  <a:srgbClr val="002774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ru-RU" sz="1400" b="1" i="1" dirty="0" smtClean="0">
              <a:solidFill>
                <a:srgbClr val="002774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400" b="1" i="1" dirty="0" smtClean="0">
                <a:solidFill>
                  <a:srgbClr val="002774"/>
                </a:solidFill>
              </a:rPr>
              <a:t>здание 804 – 65 178 </a:t>
            </a:r>
            <a:r>
              <a:rPr lang="ru-RU" sz="1400" b="1" i="1" dirty="0" smtClean="0">
                <a:solidFill>
                  <a:srgbClr val="002774"/>
                </a:solidFill>
              </a:rPr>
              <a:t>м</a:t>
            </a:r>
            <a:r>
              <a:rPr lang="ru-RU" sz="1400" b="1" i="1" baseline="30000" dirty="0" smtClean="0">
                <a:solidFill>
                  <a:srgbClr val="002774"/>
                </a:solidFill>
              </a:rPr>
              <a:t>2</a:t>
            </a:r>
            <a:r>
              <a:rPr lang="ru-RU" sz="1400" b="1" i="1" dirty="0" smtClean="0">
                <a:solidFill>
                  <a:srgbClr val="002774"/>
                </a:solidFill>
              </a:rPr>
              <a:t>.</a:t>
            </a:r>
            <a:endParaRPr lang="ru-RU" sz="1400" b="1" i="1" dirty="0" smtClean="0">
              <a:solidFill>
                <a:srgbClr val="002774"/>
              </a:solidFill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 i="1" dirty="0" smtClean="0">
                <a:solidFill>
                  <a:srgbClr val="002774"/>
                </a:solidFill>
              </a:rPr>
              <a:t>Объем : 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 i="1" dirty="0" smtClean="0">
                <a:solidFill>
                  <a:srgbClr val="002774"/>
                </a:solidFill>
              </a:rPr>
              <a:t>здания 802 – 1 037 090 </a:t>
            </a:r>
            <a:r>
              <a:rPr lang="ru-RU" sz="1400" b="1" i="1" dirty="0" smtClean="0">
                <a:solidFill>
                  <a:srgbClr val="002774"/>
                </a:solidFill>
              </a:rPr>
              <a:t>м</a:t>
            </a:r>
            <a:r>
              <a:rPr lang="ru-RU" sz="1400" b="1" i="1" baseline="30000" dirty="0" smtClean="0">
                <a:solidFill>
                  <a:srgbClr val="002774"/>
                </a:solidFill>
              </a:rPr>
              <a:t>3</a:t>
            </a:r>
            <a:r>
              <a:rPr lang="ru-RU" sz="1400" b="1" i="1" dirty="0" smtClean="0">
                <a:solidFill>
                  <a:srgbClr val="002774"/>
                </a:solidFill>
              </a:rPr>
              <a:t>. 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 i="1" dirty="0" smtClean="0">
                <a:solidFill>
                  <a:srgbClr val="002774"/>
                </a:solidFill>
              </a:rPr>
              <a:t>(</a:t>
            </a:r>
            <a:r>
              <a:rPr lang="ru-RU" sz="1400" b="1" i="1" dirty="0" smtClean="0">
                <a:solidFill>
                  <a:srgbClr val="002774"/>
                </a:solidFill>
              </a:rPr>
              <a:t>в т.ч. наземная часть – 845 556 </a:t>
            </a:r>
            <a:r>
              <a:rPr lang="ru-RU" sz="1400" b="1" i="1" dirty="0" smtClean="0">
                <a:solidFill>
                  <a:srgbClr val="002774"/>
                </a:solidFill>
              </a:rPr>
              <a:t>м</a:t>
            </a:r>
            <a:r>
              <a:rPr lang="ru-RU" sz="1400" b="1" i="1" baseline="30000" dirty="0" smtClean="0">
                <a:solidFill>
                  <a:srgbClr val="002774"/>
                </a:solidFill>
              </a:rPr>
              <a:t>3</a:t>
            </a:r>
            <a:r>
              <a:rPr lang="ru-RU" sz="1400" b="1" i="1" dirty="0" smtClean="0">
                <a:solidFill>
                  <a:srgbClr val="002774"/>
                </a:solidFill>
              </a:rPr>
              <a:t>.); </a:t>
            </a:r>
            <a:endParaRPr lang="ru-RU" sz="1400" b="1" i="1" dirty="0" smtClean="0">
              <a:solidFill>
                <a:srgbClr val="002774"/>
              </a:solidFill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 i="1" dirty="0" smtClean="0">
                <a:solidFill>
                  <a:srgbClr val="002774"/>
                </a:solidFill>
              </a:rPr>
              <a:t>здания 804 – 1 211 913 </a:t>
            </a:r>
            <a:r>
              <a:rPr lang="ru-RU" sz="1400" b="1" i="1" dirty="0" smtClean="0">
                <a:solidFill>
                  <a:srgbClr val="002774"/>
                </a:solidFill>
              </a:rPr>
              <a:t>м</a:t>
            </a:r>
            <a:r>
              <a:rPr lang="ru-RU" sz="1400" b="1" i="1" baseline="30000" dirty="0" smtClean="0">
                <a:solidFill>
                  <a:srgbClr val="002774"/>
                </a:solidFill>
              </a:rPr>
              <a:t>3</a:t>
            </a:r>
            <a:r>
              <a:rPr lang="ru-RU" sz="1400" b="1" i="1" dirty="0" smtClean="0">
                <a:solidFill>
                  <a:srgbClr val="002774"/>
                </a:solidFill>
              </a:rPr>
              <a:t>. </a:t>
            </a:r>
          </a:p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ru-RU" sz="1400" b="1" i="1" dirty="0" smtClean="0">
                <a:solidFill>
                  <a:srgbClr val="002774"/>
                </a:solidFill>
              </a:rPr>
              <a:t>(</a:t>
            </a:r>
            <a:r>
              <a:rPr lang="ru-RU" sz="1400" b="1" i="1" dirty="0" smtClean="0">
                <a:solidFill>
                  <a:srgbClr val="002774"/>
                </a:solidFill>
              </a:rPr>
              <a:t>в т.ч. наземная часть – 1 036 330 </a:t>
            </a:r>
            <a:r>
              <a:rPr lang="ru-RU" sz="1400" b="1" i="1" dirty="0" smtClean="0">
                <a:solidFill>
                  <a:srgbClr val="002774"/>
                </a:solidFill>
              </a:rPr>
              <a:t>м</a:t>
            </a:r>
            <a:r>
              <a:rPr lang="ru-RU" sz="1400" b="1" i="1" baseline="30000" dirty="0" smtClean="0">
                <a:solidFill>
                  <a:srgbClr val="002774"/>
                </a:solidFill>
              </a:rPr>
              <a:t>3</a:t>
            </a:r>
            <a:r>
              <a:rPr lang="ru-RU" sz="1400" b="1" i="1" dirty="0" smtClean="0">
                <a:solidFill>
                  <a:srgbClr val="002774"/>
                </a:solidFill>
              </a:rPr>
              <a:t>.).</a:t>
            </a:r>
            <a:endParaRPr lang="ru-RU" sz="1400" b="1" i="1" dirty="0" smtClean="0">
              <a:solidFill>
                <a:srgbClr val="002774"/>
              </a:solidFill>
            </a:endParaRPr>
          </a:p>
          <a:p>
            <a:pPr marL="0" indent="360000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400" b="1" i="1" dirty="0" smtClean="0">
                <a:solidFill>
                  <a:srgbClr val="002774"/>
                </a:solidFill>
              </a:rPr>
              <a:t>Результаты радиационного обследования строительных конструкций: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 i="1" dirty="0" smtClean="0">
                <a:solidFill>
                  <a:srgbClr val="002774"/>
                </a:solidFill>
              </a:rPr>
              <a:t> </a:t>
            </a:r>
            <a:r>
              <a:rPr lang="ru-RU" sz="1400" b="1" i="1" dirty="0" smtClean="0">
                <a:solidFill>
                  <a:srgbClr val="002774"/>
                </a:solidFill>
              </a:rPr>
              <a:t> </a:t>
            </a:r>
            <a:r>
              <a:rPr lang="ru-RU" sz="1400" b="1" i="1" dirty="0" smtClean="0">
                <a:solidFill>
                  <a:srgbClr val="002774"/>
                </a:solidFill>
              </a:rPr>
              <a:t>МЭД </a:t>
            </a:r>
            <a:r>
              <a:rPr lang="el-GR" sz="1400" b="1" i="1" dirty="0" smtClean="0">
                <a:solidFill>
                  <a:srgbClr val="002774"/>
                </a:solidFill>
              </a:rPr>
              <a:t>γ</a:t>
            </a:r>
            <a:r>
              <a:rPr lang="ru-RU" sz="1400" b="1" i="1" dirty="0" smtClean="0">
                <a:solidFill>
                  <a:srgbClr val="002774"/>
                </a:solidFill>
              </a:rPr>
              <a:t>-излучения,  расстояние 0,1 м 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400" b="1" i="1" dirty="0" smtClean="0">
                <a:solidFill>
                  <a:srgbClr val="002774"/>
                </a:solidFill>
              </a:rPr>
              <a:t> </a:t>
            </a:r>
            <a:r>
              <a:rPr lang="ru-RU" sz="1400" b="1" i="1" dirty="0" smtClean="0">
                <a:solidFill>
                  <a:srgbClr val="002774"/>
                </a:solidFill>
              </a:rPr>
              <a:t> - </a:t>
            </a:r>
            <a:r>
              <a:rPr lang="ru-RU" sz="1400" b="1" i="1" dirty="0" smtClean="0">
                <a:solidFill>
                  <a:srgbClr val="002774"/>
                </a:solidFill>
              </a:rPr>
              <a:t>0,13 </a:t>
            </a:r>
            <a:r>
              <a:rPr lang="ru-RU" sz="1400" b="1" i="1" dirty="0" err="1" smtClean="0">
                <a:solidFill>
                  <a:srgbClr val="002774"/>
                </a:solidFill>
              </a:rPr>
              <a:t>мкЗв</a:t>
            </a:r>
            <a:r>
              <a:rPr lang="ru-RU" sz="1400" b="1" i="1" dirty="0" smtClean="0">
                <a:solidFill>
                  <a:srgbClr val="002774"/>
                </a:solidFill>
              </a:rPr>
              <a:t>/час; 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400" b="1" i="1" dirty="0" smtClean="0">
                <a:solidFill>
                  <a:srgbClr val="002774"/>
                </a:solidFill>
              </a:rPr>
              <a:t>  уровень </a:t>
            </a:r>
            <a:r>
              <a:rPr lang="ru-RU" sz="1400" b="1" i="1" dirty="0" smtClean="0">
                <a:solidFill>
                  <a:srgbClr val="002774"/>
                </a:solidFill>
              </a:rPr>
              <a:t>поверхностного </a:t>
            </a:r>
            <a:r>
              <a:rPr lang="ru-RU" sz="1400" b="1" i="1" dirty="0" smtClean="0">
                <a:solidFill>
                  <a:srgbClr val="002774"/>
                </a:solidFill>
              </a:rPr>
              <a:t>загрязнения: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 i="1" dirty="0" smtClean="0">
                <a:solidFill>
                  <a:srgbClr val="002774"/>
                </a:solidFill>
              </a:rPr>
              <a:t> </a:t>
            </a:r>
            <a:r>
              <a:rPr lang="ru-RU" sz="1400" b="1" i="1" dirty="0" smtClean="0">
                <a:solidFill>
                  <a:srgbClr val="002774"/>
                </a:solidFill>
              </a:rPr>
              <a:t> </a:t>
            </a:r>
            <a:r>
              <a:rPr lang="ru-RU" sz="1400" b="1" i="1" dirty="0" err="1" smtClean="0">
                <a:solidFill>
                  <a:srgbClr val="002774"/>
                </a:solidFill>
              </a:rPr>
              <a:t>β-активными </a:t>
            </a:r>
            <a:r>
              <a:rPr lang="ru-RU" sz="1400" b="1" i="1" dirty="0" smtClean="0">
                <a:solidFill>
                  <a:srgbClr val="002774"/>
                </a:solidFill>
              </a:rPr>
              <a:t>радионуклидами </a:t>
            </a:r>
            <a:endParaRPr lang="ru-RU" sz="1400" b="1" i="1" dirty="0" smtClean="0">
              <a:solidFill>
                <a:srgbClr val="002774"/>
              </a:solidFill>
            </a:endParaRPr>
          </a:p>
          <a:p>
            <a:pPr marL="0" indent="0">
              <a:spcBef>
                <a:spcPts val="0"/>
              </a:spcBef>
              <a:spcAft>
                <a:spcPts val="600"/>
              </a:spcAft>
              <a:buFontTx/>
              <a:buChar char="-"/>
            </a:pPr>
            <a:r>
              <a:rPr lang="ru-RU" sz="1400" b="1" i="1" dirty="0" smtClean="0">
                <a:solidFill>
                  <a:srgbClr val="002774"/>
                </a:solidFill>
              </a:rPr>
              <a:t>до </a:t>
            </a:r>
            <a:r>
              <a:rPr lang="ru-RU" sz="1400" b="1" i="1" dirty="0" smtClean="0">
                <a:solidFill>
                  <a:srgbClr val="002774"/>
                </a:solidFill>
              </a:rPr>
              <a:t>1700 част/(кв.см. мин</a:t>
            </a:r>
            <a:r>
              <a:rPr lang="ru-RU" sz="1400" b="1" i="1" dirty="0" smtClean="0">
                <a:solidFill>
                  <a:srgbClr val="002774"/>
                </a:solidFill>
              </a:rPr>
              <a:t>),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  <a:sym typeface="Symbol"/>
              </a:rPr>
              <a:t>  </a:t>
            </a: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  <a:sym typeface="Symbol"/>
              </a:rPr>
              <a:t>-активными радионуклидами </a:t>
            </a:r>
            <a:endParaRPr lang="ru-RU" sz="1400" b="1" i="1" dirty="0" smtClean="0">
              <a:solidFill>
                <a:srgbClr val="002774"/>
              </a:solidFill>
              <a:latin typeface="Arial" pitchFamily="34" charset="0"/>
              <a:cs typeface="Arial" pitchFamily="34" charset="0"/>
              <a:sym typeface="Symbol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  <a:sym typeface="Symbol"/>
              </a:rPr>
              <a:t> </a:t>
            </a: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  <a:sym typeface="Symbol"/>
              </a:rPr>
              <a:t> - до 25</a:t>
            </a:r>
            <a:r>
              <a:rPr lang="ru-RU" sz="1400" b="1" i="1" dirty="0" smtClean="0">
                <a:solidFill>
                  <a:srgbClr val="002774"/>
                </a:solidFill>
              </a:rPr>
              <a:t> част/(кв.см. мин),</a:t>
            </a:r>
            <a:endParaRPr lang="ru-RU" sz="1400" b="1" i="1" dirty="0" smtClean="0">
              <a:solidFill>
                <a:srgbClr val="002774"/>
              </a:solidFill>
              <a:latin typeface="Arial" pitchFamily="34" charset="0"/>
              <a:cs typeface="Arial" pitchFamily="34" charset="0"/>
              <a:sym typeface="Symbol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ru-RU" sz="1400" i="1" dirty="0" smtClean="0"/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1400" i="1" dirty="0" smtClean="0">
              <a:solidFill>
                <a:srgbClr val="002060"/>
              </a:solidFill>
            </a:endParaRPr>
          </a:p>
          <a:p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4A79128-DB53-480B-B09F-291FB7039683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0024" y="1123950"/>
            <a:ext cx="4743451" cy="52958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3" descr="logo_AECC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72377" y="255937"/>
            <a:ext cx="1228724" cy="496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 </a:t>
            </a:r>
            <a:r>
              <a:rPr lang="ru-RU" sz="20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борудование, размещенное в зданиях 802, 804</a:t>
            </a:r>
            <a:endParaRPr lang="ru-RU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Содержимое 4"/>
          <p:cNvSpPr>
            <a:spLocks noGrp="1"/>
          </p:cNvSpPr>
          <p:nvPr>
            <p:ph sz="half" idx="2"/>
          </p:nvPr>
        </p:nvSpPr>
        <p:spPr>
          <a:xfrm>
            <a:off x="4886325" y="1081088"/>
            <a:ext cx="4027488" cy="4527550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lang="ru-RU" sz="1400" i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На настоящий момент размещено частично демонтированного оборудования: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в здании 802 -3625 </a:t>
            </a: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тонн;</a:t>
            </a:r>
            <a:endParaRPr lang="ru-RU" sz="1400" b="1" i="1" dirty="0" smtClean="0">
              <a:solidFill>
                <a:srgbClr val="002774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в здании 804 – 4825 </a:t>
            </a: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тонн, в том числе</a:t>
            </a:r>
            <a:endParaRPr lang="ru-RU" sz="1400" b="1" i="1" dirty="0" smtClean="0">
              <a:solidFill>
                <a:srgbClr val="002774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	15 </a:t>
            </a: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блоков  газодиффузионных машин.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Результаты радиационного обследования оборудования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1400" b="1" i="1" dirty="0" smtClean="0">
                <a:solidFill>
                  <a:srgbClr val="002774"/>
                </a:solidFill>
              </a:rPr>
              <a:t>Уровни </a:t>
            </a:r>
            <a:r>
              <a:rPr lang="ru-RU" sz="1400" b="1" i="1" dirty="0" smtClean="0">
                <a:solidFill>
                  <a:srgbClr val="002774"/>
                </a:solidFill>
              </a:rPr>
              <a:t>поверхностного </a:t>
            </a:r>
            <a:r>
              <a:rPr lang="ru-RU" sz="1400" b="1" i="1" dirty="0" smtClean="0">
                <a:solidFill>
                  <a:srgbClr val="002774"/>
                </a:solidFill>
              </a:rPr>
              <a:t>загрязнения составляют</a:t>
            </a:r>
            <a:r>
              <a:rPr lang="ru-RU" sz="1400" b="1" i="1" dirty="0" smtClean="0">
                <a:solidFill>
                  <a:srgbClr val="002774"/>
                </a:solidFill>
              </a:rPr>
              <a:t>:</a:t>
            </a:r>
            <a:endParaRPr lang="ru-RU" sz="1400" b="1" i="1" dirty="0" smtClean="0">
              <a:solidFill>
                <a:srgbClr val="002774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</a:rPr>
              <a:t> </a:t>
            </a:r>
            <a:r>
              <a:rPr lang="ru-RU" sz="1400" b="1" i="1" dirty="0" err="1" smtClean="0">
                <a:solidFill>
                  <a:srgbClr val="002774"/>
                </a:solidFill>
              </a:rPr>
              <a:t>β-активными </a:t>
            </a:r>
            <a:r>
              <a:rPr lang="ru-RU" sz="1400" b="1" i="1" dirty="0" smtClean="0">
                <a:solidFill>
                  <a:srgbClr val="002774"/>
                </a:solidFill>
              </a:rPr>
              <a:t>радионуклидами</a:t>
            </a:r>
            <a:endParaRPr lang="ru-RU" sz="1400" b="1" i="1" dirty="0" smtClean="0">
              <a:solidFill>
                <a:srgbClr val="002774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- </a:t>
            </a:r>
            <a:r>
              <a:rPr lang="ru-RU" sz="1400" b="1" i="1" dirty="0" smtClean="0">
                <a:solidFill>
                  <a:srgbClr val="002774"/>
                </a:solidFill>
              </a:rPr>
              <a:t>до </a:t>
            </a:r>
            <a:r>
              <a:rPr lang="ru-RU" sz="1400" b="1" i="1" dirty="0" smtClean="0">
                <a:solidFill>
                  <a:srgbClr val="002774"/>
                </a:solidFill>
              </a:rPr>
              <a:t>800 част/(см</a:t>
            </a:r>
            <a:r>
              <a:rPr lang="ru-RU" sz="1400" b="1" i="1" baseline="30000" dirty="0" smtClean="0">
                <a:solidFill>
                  <a:srgbClr val="002774"/>
                </a:solidFill>
              </a:rPr>
              <a:t>2</a:t>
            </a:r>
            <a:r>
              <a:rPr lang="ru-RU" sz="1400" b="1" i="1" dirty="0" smtClean="0">
                <a:solidFill>
                  <a:srgbClr val="002774"/>
                </a:solidFill>
              </a:rPr>
              <a:t>мин</a:t>
            </a:r>
            <a:r>
              <a:rPr lang="ru-RU" sz="1400" b="1" i="1" dirty="0" smtClean="0">
                <a:solidFill>
                  <a:srgbClr val="002774"/>
                </a:solidFill>
              </a:rPr>
              <a:t>.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  <a:sym typeface="Symbol"/>
              </a:rPr>
              <a:t>-активными радионуклидами 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  <a:sym typeface="Symbol"/>
              </a:rPr>
              <a:t>-</a:t>
            </a:r>
            <a:r>
              <a:rPr lang="ru-RU" sz="1400" b="1" i="1" dirty="0" smtClean="0">
                <a:solidFill>
                  <a:srgbClr val="002774"/>
                </a:solidFill>
              </a:rPr>
              <a:t>до 20 част/(см</a:t>
            </a:r>
            <a:r>
              <a:rPr lang="ru-RU" sz="1400" b="1" i="1" baseline="30000" dirty="0" smtClean="0">
                <a:solidFill>
                  <a:srgbClr val="002774"/>
                </a:solidFill>
              </a:rPr>
              <a:t>2</a:t>
            </a:r>
            <a:r>
              <a:rPr lang="ru-RU" sz="1400" b="1" i="1" dirty="0" smtClean="0">
                <a:solidFill>
                  <a:srgbClr val="002774"/>
                </a:solidFill>
              </a:rPr>
              <a:t>мин.).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МЭД гамма-излучения, расстояние 0,1м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-0,12 </a:t>
            </a:r>
            <a:r>
              <a:rPr lang="ru-RU" sz="1400" b="1" i="1" dirty="0" err="1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мкЗв</a:t>
            </a: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/час.</a:t>
            </a:r>
            <a:endParaRPr lang="ru-RU" sz="1400" b="1" i="1" dirty="0" smtClean="0">
              <a:solidFill>
                <a:srgbClr val="002774"/>
              </a:solidFill>
              <a:latin typeface="Arial" pitchFamily="34" charset="0"/>
              <a:cs typeface="Arial" pitchFamily="34" charset="0"/>
            </a:endParaRPr>
          </a:p>
          <a:p>
            <a:endParaRPr lang="ru-RU" sz="1400" i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1400" dirty="0" smtClean="0"/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ru-RU" sz="1400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4A79128-DB53-480B-B09F-291FB7039683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pic>
        <p:nvPicPr>
          <p:cNvPr id="6" name="Picture 13" descr="logo_AECC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72377" y="255937"/>
            <a:ext cx="1228724" cy="496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" y="1076326"/>
            <a:ext cx="4572000" cy="49530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4721BE5-87B7-425E-ADB7-261E002E32A4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  <p:sp>
        <p:nvSpPr>
          <p:cNvPr id="73731" name="Rectangle 3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55600" y="179388"/>
            <a:ext cx="8207375" cy="81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lnSpc>
                <a:spcPct val="90000"/>
              </a:lnSpc>
            </a:pPr>
            <a:r>
              <a:rPr lang="ru-RU" sz="2000" b="1" dirty="0" smtClean="0">
                <a:solidFill>
                  <a:srgbClr val="091D5D"/>
                </a:solidFill>
              </a:rPr>
              <a:t>Площадка временного хранения</a:t>
            </a:r>
            <a:endParaRPr lang="ru-RU" sz="2000" dirty="0">
              <a:solidFill>
                <a:srgbClr val="091D5D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59746" y="1481219"/>
            <a:ext cx="2680613" cy="132343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4000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rPr>
              <a:t>Фото объекта</a:t>
            </a:r>
          </a:p>
        </p:txBody>
      </p:sp>
      <p:sp>
        <p:nvSpPr>
          <p:cNvPr id="73733" name="TextBox 6"/>
          <p:cNvSpPr txBox="1">
            <a:spLocks noChangeArrowheads="1"/>
          </p:cNvSpPr>
          <p:nvPr/>
        </p:nvSpPr>
        <p:spPr bwMode="auto">
          <a:xfrm>
            <a:off x="5105400" y="989013"/>
            <a:ext cx="4038600" cy="6294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ru-RU" sz="1400" b="1" dirty="0" smtClean="0">
              <a:solidFill>
                <a:srgbClr val="002060"/>
              </a:solidFill>
            </a:endParaRPr>
          </a:p>
          <a:p>
            <a:r>
              <a:rPr lang="ru-RU" sz="1400" b="1" i="1" dirty="0" smtClean="0">
                <a:solidFill>
                  <a:srgbClr val="002774"/>
                </a:solidFill>
              </a:rPr>
              <a:t>Открытая грунтовая площадка </a:t>
            </a:r>
            <a:r>
              <a:rPr lang="ru-RU" sz="1400" b="1" i="1" dirty="0">
                <a:solidFill>
                  <a:srgbClr val="002774"/>
                </a:solidFill>
              </a:rPr>
              <a:t>для временного хранения  частично дезактивированного  оборудования, демонтированного из зданий 802, 804. </a:t>
            </a:r>
            <a:endParaRPr lang="ru-RU" sz="1400" b="1" i="1" dirty="0" smtClean="0">
              <a:solidFill>
                <a:srgbClr val="002774"/>
              </a:solidFill>
            </a:endParaRPr>
          </a:p>
          <a:p>
            <a:r>
              <a:rPr lang="ru-RU" sz="1400" b="1" i="1" dirty="0" smtClean="0">
                <a:solidFill>
                  <a:srgbClr val="002774"/>
                </a:solidFill>
              </a:rPr>
              <a:t>Размеры площадки 130х290 м</a:t>
            </a:r>
            <a:r>
              <a:rPr lang="ru-RU" sz="1400" b="1" i="1" dirty="0" smtClean="0">
                <a:solidFill>
                  <a:srgbClr val="002774"/>
                </a:solidFill>
              </a:rPr>
              <a:t>.</a:t>
            </a:r>
          </a:p>
          <a:p>
            <a:r>
              <a:rPr lang="ru-RU" sz="1400" b="1" i="1" dirty="0" smtClean="0">
                <a:solidFill>
                  <a:srgbClr val="002774"/>
                </a:solidFill>
              </a:rPr>
              <a:t> </a:t>
            </a:r>
            <a:r>
              <a:rPr lang="ru-RU" sz="1400" b="1" i="1" dirty="0" smtClean="0">
                <a:solidFill>
                  <a:srgbClr val="002774"/>
                </a:solidFill>
              </a:rPr>
              <a:t>Общая площадь – 37700 кв.м. </a:t>
            </a:r>
          </a:p>
          <a:p>
            <a:r>
              <a:rPr lang="ru-RU" sz="1400" b="1" i="1" dirty="0" smtClean="0">
                <a:solidFill>
                  <a:srgbClr val="002774"/>
                </a:solidFill>
              </a:rPr>
              <a:t>Размещено порядка 25 000 тонн газодиффузионного оборудования  . Всего занято около 90% площади.</a:t>
            </a:r>
          </a:p>
          <a:p>
            <a:r>
              <a:rPr lang="ru-RU" sz="1400" b="1" i="1" dirty="0" smtClean="0">
                <a:solidFill>
                  <a:srgbClr val="002774"/>
                </a:solidFill>
              </a:rPr>
              <a:t>Результаты радиационного обследования: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</a:rPr>
              <a:t>МЭД </a:t>
            </a:r>
            <a:r>
              <a:rPr lang="ru-RU" sz="1400" b="1" i="1" dirty="0" smtClean="0">
                <a:solidFill>
                  <a:srgbClr val="002774"/>
                </a:solidFill>
              </a:rPr>
              <a:t>гамма-излучения, </a:t>
            </a:r>
            <a:r>
              <a:rPr lang="ru-RU" sz="1400" b="1" i="1" dirty="0" smtClean="0">
                <a:solidFill>
                  <a:srgbClr val="002774"/>
                </a:solidFill>
              </a:rPr>
              <a:t>расстояние 0,1 </a:t>
            </a:r>
            <a:r>
              <a:rPr lang="ru-RU" sz="1400" b="1" i="1" dirty="0" smtClean="0">
                <a:solidFill>
                  <a:srgbClr val="002774"/>
                </a:solidFill>
              </a:rPr>
              <a:t>м </a:t>
            </a:r>
            <a:r>
              <a:rPr lang="ru-RU" sz="1400" b="1" i="1" dirty="0" smtClean="0">
                <a:solidFill>
                  <a:srgbClr val="002774"/>
                </a:solidFill>
              </a:rPr>
              <a:t>:</a:t>
            </a:r>
            <a:endParaRPr lang="ru-RU" sz="1400" b="1" i="1" dirty="0" smtClean="0">
              <a:solidFill>
                <a:srgbClr val="002774"/>
              </a:solidFill>
            </a:endParaRP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</a:rPr>
              <a:t>- грунт - до </a:t>
            </a:r>
            <a:r>
              <a:rPr lang="ru-RU" sz="1400" b="1" i="1" dirty="0" smtClean="0">
                <a:solidFill>
                  <a:srgbClr val="002774"/>
                </a:solidFill>
              </a:rPr>
              <a:t>10,9 </a:t>
            </a:r>
            <a:r>
              <a:rPr lang="ru-RU" sz="1400" b="1" i="1" dirty="0" err="1" smtClean="0">
                <a:solidFill>
                  <a:srgbClr val="002774"/>
                </a:solidFill>
              </a:rPr>
              <a:t>мкЗв</a:t>
            </a:r>
            <a:r>
              <a:rPr lang="ru-RU" sz="1400" b="1" i="1" dirty="0" smtClean="0">
                <a:solidFill>
                  <a:srgbClr val="002774"/>
                </a:solidFill>
              </a:rPr>
              <a:t>/час,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</a:rPr>
              <a:t>- оборудование – </a:t>
            </a:r>
            <a:r>
              <a:rPr lang="ru-RU" sz="1400" b="1" i="1" dirty="0" smtClean="0">
                <a:solidFill>
                  <a:srgbClr val="002774"/>
                </a:solidFill>
              </a:rPr>
              <a:t>0,34 </a:t>
            </a:r>
            <a:r>
              <a:rPr lang="ru-RU" sz="1400" b="1" i="1" dirty="0" err="1" smtClean="0">
                <a:solidFill>
                  <a:srgbClr val="002774"/>
                </a:solidFill>
              </a:rPr>
              <a:t>мкЗв</a:t>
            </a:r>
            <a:r>
              <a:rPr lang="ru-RU" sz="1400" b="1" i="1" dirty="0" smtClean="0">
                <a:solidFill>
                  <a:srgbClr val="002774"/>
                </a:solidFill>
              </a:rPr>
              <a:t>/час;</a:t>
            </a:r>
            <a:endParaRPr lang="ru-RU" sz="1400" b="1" i="1" dirty="0" smtClean="0">
              <a:solidFill>
                <a:srgbClr val="002774"/>
              </a:solidFill>
            </a:endParaRP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</a:rPr>
              <a:t>уровни </a:t>
            </a:r>
            <a:r>
              <a:rPr lang="ru-RU" sz="1400" b="1" i="1" dirty="0" smtClean="0">
                <a:solidFill>
                  <a:srgbClr val="002774"/>
                </a:solidFill>
              </a:rPr>
              <a:t>поверхностного загрязнения </a:t>
            </a:r>
            <a:endParaRPr lang="ru-RU" sz="1400" b="1" i="1" dirty="0" smtClean="0">
              <a:solidFill>
                <a:srgbClr val="002774"/>
              </a:solidFill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1400" b="1" i="1" dirty="0" err="1" smtClean="0">
                <a:solidFill>
                  <a:srgbClr val="002774"/>
                </a:solidFill>
              </a:rPr>
              <a:t>β-активными </a:t>
            </a:r>
            <a:r>
              <a:rPr lang="ru-RU" sz="1400" b="1" i="1" dirty="0" smtClean="0">
                <a:solidFill>
                  <a:srgbClr val="002774"/>
                </a:solidFill>
              </a:rPr>
              <a:t>радионуклидами: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1400" b="1" i="1" dirty="0" smtClean="0">
                <a:solidFill>
                  <a:srgbClr val="002774"/>
                </a:solidFill>
              </a:rPr>
              <a:t>-г</a:t>
            </a:r>
            <a:r>
              <a:rPr lang="ru-RU" sz="1400" b="1" i="1" dirty="0" smtClean="0">
                <a:solidFill>
                  <a:srgbClr val="002774"/>
                </a:solidFill>
              </a:rPr>
              <a:t>рунт до </a:t>
            </a:r>
            <a:r>
              <a:rPr lang="ru-RU" sz="1400" b="1" i="1" dirty="0" smtClean="0">
                <a:solidFill>
                  <a:srgbClr val="002774"/>
                </a:solidFill>
              </a:rPr>
              <a:t>1900 част/(кв.см. мин), </a:t>
            </a:r>
            <a:endParaRPr lang="ru-RU" sz="1400" b="1" i="1" dirty="0" smtClean="0">
              <a:solidFill>
                <a:srgbClr val="002774"/>
              </a:solidFill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ru-RU" sz="1400" b="1" i="1" dirty="0" smtClean="0">
                <a:solidFill>
                  <a:srgbClr val="002774"/>
                </a:solidFill>
              </a:rPr>
              <a:t>-оборудование  </a:t>
            </a:r>
            <a:r>
              <a:rPr lang="ru-RU" sz="1400" b="1" i="1" dirty="0" smtClean="0">
                <a:solidFill>
                  <a:srgbClr val="002774"/>
                </a:solidFill>
              </a:rPr>
              <a:t>до 1975 част/(кв.см. мин</a:t>
            </a:r>
            <a:r>
              <a:rPr lang="ru-RU" sz="1400" b="1" i="1" dirty="0" smtClean="0">
                <a:solidFill>
                  <a:srgbClr val="002774"/>
                </a:solidFill>
              </a:rPr>
              <a:t>);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  <a:sym typeface="Symbol"/>
              </a:rPr>
              <a:t>-</a:t>
            </a: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  <a:sym typeface="Symbol"/>
              </a:rPr>
              <a:t>активными</a:t>
            </a:r>
            <a:r>
              <a:rPr lang="ru-RU" sz="1400" b="1" i="1" dirty="0" smtClean="0">
                <a:solidFill>
                  <a:srgbClr val="002774"/>
                </a:solidFill>
              </a:rPr>
              <a:t> </a:t>
            </a:r>
            <a:r>
              <a:rPr lang="ru-RU" sz="1400" b="1" i="1" dirty="0" smtClean="0">
                <a:solidFill>
                  <a:srgbClr val="002774"/>
                </a:solidFill>
              </a:rPr>
              <a:t>радионуклидами: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</a:rPr>
              <a:t>- грунт </a:t>
            </a:r>
            <a:r>
              <a:rPr lang="ru-RU" sz="1400" b="1" i="1" dirty="0" smtClean="0">
                <a:solidFill>
                  <a:srgbClr val="002774"/>
                </a:solidFill>
              </a:rPr>
              <a:t>менее 1 част</a:t>
            </a:r>
            <a:r>
              <a:rPr lang="ru-RU" sz="1400" b="1" i="1" dirty="0" smtClean="0">
                <a:solidFill>
                  <a:srgbClr val="002774"/>
                </a:solidFill>
              </a:rPr>
              <a:t>/(кв.см. мин), </a:t>
            </a:r>
            <a:endParaRPr lang="ru-RU" sz="1400" b="1" i="1" dirty="0" smtClean="0">
              <a:solidFill>
                <a:srgbClr val="002774"/>
              </a:solidFill>
            </a:endParaRPr>
          </a:p>
          <a:p>
            <a:r>
              <a:rPr lang="ru-RU" sz="1400" i="1" dirty="0" smtClean="0">
                <a:solidFill>
                  <a:srgbClr val="002060"/>
                </a:solidFill>
              </a:rPr>
              <a:t>-</a:t>
            </a:r>
            <a:r>
              <a:rPr lang="ru-RU" sz="1400" b="1" i="1" dirty="0" smtClean="0">
                <a:solidFill>
                  <a:srgbClr val="002774"/>
                </a:solidFill>
              </a:rPr>
              <a:t>-оборудование  </a:t>
            </a:r>
            <a:r>
              <a:rPr lang="ru-RU" sz="1400" b="1" i="1" dirty="0" smtClean="0">
                <a:solidFill>
                  <a:srgbClr val="002774"/>
                </a:solidFill>
              </a:rPr>
              <a:t>менее 1 част</a:t>
            </a:r>
            <a:r>
              <a:rPr lang="ru-RU" sz="1400" b="1" i="1" dirty="0" smtClean="0">
                <a:solidFill>
                  <a:srgbClr val="002774"/>
                </a:solidFill>
              </a:rPr>
              <a:t>/(кв.см. мин</a:t>
            </a:r>
            <a:r>
              <a:rPr lang="ru-RU" sz="1400" b="1" i="1" dirty="0" smtClean="0">
                <a:solidFill>
                  <a:srgbClr val="002774"/>
                </a:solidFill>
              </a:rPr>
              <a:t>).</a:t>
            </a:r>
            <a:endParaRPr lang="ru-RU" sz="1400" b="1" i="1" dirty="0" smtClean="0">
              <a:solidFill>
                <a:srgbClr val="002774"/>
              </a:solidFill>
            </a:endParaRPr>
          </a:p>
          <a:p>
            <a:endParaRPr lang="ru-RU" sz="1400" i="1" dirty="0">
              <a:solidFill>
                <a:srgbClr val="002060"/>
              </a:solidFill>
            </a:endParaRPr>
          </a:p>
          <a:p>
            <a:pPr>
              <a:buFont typeface="Wingdings" pitchFamily="2" charset="2"/>
              <a:buChar char="Ø"/>
            </a:pPr>
            <a:endParaRPr lang="ru-RU" sz="1400" i="1" dirty="0">
              <a:solidFill>
                <a:srgbClr val="002060"/>
              </a:solidFill>
            </a:endParaRPr>
          </a:p>
          <a:p>
            <a:endParaRPr lang="ru-RU" sz="1400" i="1" dirty="0">
              <a:solidFill>
                <a:srgbClr val="002060"/>
              </a:solidFill>
            </a:endParaRPr>
          </a:p>
          <a:p>
            <a:pPr>
              <a:buFont typeface="Wingdings" pitchFamily="2" charset="2"/>
              <a:buChar char="Ø"/>
            </a:pPr>
            <a:endParaRPr lang="ru-RU" sz="1400" i="1" dirty="0">
              <a:solidFill>
                <a:srgbClr val="002060"/>
              </a:solidFill>
            </a:endParaRPr>
          </a:p>
          <a:p>
            <a:pPr>
              <a:buFont typeface="Wingdings" pitchFamily="2" charset="2"/>
              <a:buChar char="Ø"/>
            </a:pPr>
            <a:endParaRPr lang="ru-RU" sz="1400" i="1" dirty="0">
              <a:solidFill>
                <a:srgbClr val="002060"/>
              </a:solidFill>
            </a:endParaRPr>
          </a:p>
        </p:txBody>
      </p:sp>
      <p:sp>
        <p:nvSpPr>
          <p:cNvPr id="73781" name="Прямоугольник 8"/>
          <p:cNvSpPr>
            <a:spLocks noChangeArrowheads="1"/>
          </p:cNvSpPr>
          <p:nvPr/>
        </p:nvSpPr>
        <p:spPr bwMode="auto">
          <a:xfrm>
            <a:off x="7958138" y="0"/>
            <a:ext cx="1841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endParaRPr lang="ru-RU" sz="1200" b="1">
              <a:solidFill>
                <a:srgbClr val="FF0000"/>
              </a:solidFill>
            </a:endParaRPr>
          </a:p>
        </p:txBody>
      </p:sp>
      <p:pic>
        <p:nvPicPr>
          <p:cNvPr id="73782" name="Picture 13" descr="logo_AECC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81926" y="219075"/>
            <a:ext cx="1181100" cy="571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3783" name="Picture 4" descr="Dsc_0163"/>
          <p:cNvPicPr>
            <a:picLocks noChangeAspect="1" noChangeArrowheads="1"/>
          </p:cNvPicPr>
          <p:nvPr/>
        </p:nvPicPr>
        <p:blipFill>
          <a:blip r:embed="rId4" cstate="print"/>
          <a:srcRect t="26381" r="14667"/>
          <a:stretch>
            <a:fillRect/>
          </a:stretch>
        </p:blipFill>
        <p:spPr bwMode="auto">
          <a:xfrm>
            <a:off x="161926" y="1295400"/>
            <a:ext cx="4695824" cy="458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3784" name="Oval 6"/>
          <p:cNvSpPr>
            <a:spLocks noChangeArrowheads="1"/>
          </p:cNvSpPr>
          <p:nvPr/>
        </p:nvSpPr>
        <p:spPr bwMode="auto">
          <a:xfrm>
            <a:off x="228600" y="3409950"/>
            <a:ext cx="2600325" cy="2076449"/>
          </a:xfrm>
          <a:prstGeom prst="ellipse">
            <a:avLst/>
          </a:prstGeom>
          <a:noFill/>
          <a:ln w="19050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ru-RU">
              <a:solidFill>
                <a:srgbClr val="FF3300"/>
              </a:solidFill>
            </a:endParaRPr>
          </a:p>
        </p:txBody>
      </p: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smtClean="0">
                <a:solidFill>
                  <a:srgbClr val="002060"/>
                </a:solidFill>
              </a:rPr>
              <a:t>Основные направления </a:t>
            </a:r>
            <a:r>
              <a:rPr lang="ru-RU" sz="2000" dirty="0" smtClean="0">
                <a:solidFill>
                  <a:srgbClr val="002060"/>
                </a:solidFill>
              </a:rPr>
              <a:t>проведения работ по ВЭ </a:t>
            </a:r>
            <a:endParaRPr lang="ru-RU" sz="2000" dirty="0">
              <a:solidFill>
                <a:srgbClr val="002060"/>
              </a:solidFill>
            </a:endParaRPr>
          </a:p>
        </p:txBody>
      </p:sp>
      <p:sp>
        <p:nvSpPr>
          <p:cNvPr id="7" name="Содержимое 6"/>
          <p:cNvSpPr>
            <a:spLocks noGrp="1"/>
          </p:cNvSpPr>
          <p:nvPr>
            <p:ph idx="1"/>
          </p:nvPr>
        </p:nvSpPr>
        <p:spPr>
          <a:xfrm>
            <a:off x="430213" y="1214437"/>
            <a:ext cx="8207375" cy="4986338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Основное направление проведения работ по ликвидации корпусов: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  - демонтаж строительных конструкций, представляющих потенциальную опасность при разборке оборудования (конструкции перекрытия</a:t>
            </a: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);</a:t>
            </a:r>
            <a:endParaRPr lang="ru-RU" sz="1400" b="1" i="1" dirty="0" smtClean="0">
              <a:solidFill>
                <a:srgbClr val="002774"/>
              </a:solidFill>
              <a:latin typeface="Arial" pitchFamily="34" charset="0"/>
              <a:cs typeface="Arial" pitchFamily="34" charset="0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- удаление технологического </a:t>
            </a: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оборудования остановленного </a:t>
            </a: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производства и оборудования инженерных систем,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- дезактивация </a:t>
            </a: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строительных </a:t>
            </a: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конструкций, </a:t>
            </a: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имеющих </a:t>
            </a: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радиоактивное загрязнение;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- демонтаж строительных конструкций корпусов, приведенного в радиационно-безопасное состояние, включая фундаменты зданий;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- реабилитация территории  после ликвидации корпусов.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</a:pPr>
            <a:endParaRPr lang="ru-RU" sz="1400" b="1" i="1" dirty="0" smtClean="0">
              <a:solidFill>
                <a:srgbClr val="002774"/>
              </a:solidFill>
              <a:latin typeface="Arial" pitchFamily="34" charset="0"/>
              <a:cs typeface="Arial" pitchFamily="34" charset="0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400" b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Основное направление проведения работ по ликвидации площадки временного хранения: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удаление (сбор) металлолома  (технологического оборудования),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- </a:t>
            </a: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удаление </a:t>
            </a: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грунта, имеющего радиоактивное загрязнение;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- реабилитация территории площадки .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</a:pPr>
            <a:endParaRPr lang="ru-RU" sz="1400" b="1" i="1" dirty="0" smtClean="0">
              <a:solidFill>
                <a:srgbClr val="002774"/>
              </a:solidFill>
              <a:latin typeface="Arial" pitchFamily="34" charset="0"/>
              <a:cs typeface="Arial" pitchFamily="34" charset="0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Проведение работ в несколько этапов: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1.  Подготовительные работы – создание инфраструктуры.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2.  Ликвидация  корпусов и площадки временного хранения .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  <a:latin typeface="Arial" pitchFamily="34" charset="0"/>
                <a:cs typeface="Arial" pitchFamily="34" charset="0"/>
              </a:rPr>
              <a:t>3.  Приведение</a:t>
            </a:r>
            <a:r>
              <a:rPr lang="ru-RU" sz="1400" b="1" i="1" dirty="0" smtClean="0">
                <a:solidFill>
                  <a:srgbClr val="002774"/>
                </a:solidFill>
              </a:rPr>
              <a:t> территорий после демонтажа объектов в состояние, отвечающее   действующим нормам для дальнейшего использования, с восстановлением плодородного слоя почвы.</a:t>
            </a:r>
            <a:endParaRPr lang="ru-RU" sz="1400" b="1" i="1" dirty="0">
              <a:solidFill>
                <a:srgbClr val="002774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CB76CA-B5E9-4C64-9EDD-040D13F079E5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  <p:pic>
        <p:nvPicPr>
          <p:cNvPr id="8" name="Picture 13" descr="logo_AECC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72377" y="255937"/>
            <a:ext cx="1228724" cy="496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 smtClean="0">
                <a:solidFill>
                  <a:srgbClr val="002060"/>
                </a:solidFill>
              </a:rPr>
              <a:t>Задачи, решаемые в рамках проекта  по выводу из эксплуатации зданий 802 и 804</a:t>
            </a:r>
            <a:endParaRPr lang="ru-RU" sz="2000" dirty="0">
              <a:solidFill>
                <a:srgbClr val="002060"/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sz="1400" i="1" dirty="0" smtClean="0"/>
          </a:p>
          <a:p>
            <a:r>
              <a:rPr lang="ru-RU" sz="1600" b="1" i="1" dirty="0" smtClean="0">
                <a:solidFill>
                  <a:srgbClr val="002774"/>
                </a:solidFill>
              </a:rPr>
              <a:t>1. Обеспечение безопасности (промышленной, радиационной, экологической) при выполнении работ по выводу из эксплуатации зданий 802, 804.</a:t>
            </a:r>
          </a:p>
          <a:p>
            <a:r>
              <a:rPr lang="ru-RU" sz="1600" b="1" i="1" dirty="0" smtClean="0">
                <a:solidFill>
                  <a:srgbClr val="002774"/>
                </a:solidFill>
              </a:rPr>
              <a:t>2. Демонтаж, сортировка, фрагментация, временное хранение, дезактивация и вывоз оставшегося оборудования и металлоконструкций зданий.</a:t>
            </a:r>
          </a:p>
          <a:p>
            <a:r>
              <a:rPr lang="ru-RU" sz="1600" b="1" i="1" dirty="0" smtClean="0">
                <a:solidFill>
                  <a:srgbClr val="002774"/>
                </a:solidFill>
              </a:rPr>
              <a:t>3.  Дезактивация, демонтаж и вывоз строительных конструкций зданий.</a:t>
            </a:r>
          </a:p>
          <a:p>
            <a:r>
              <a:rPr lang="ru-RU" sz="1600" b="1" i="1" dirty="0" smtClean="0">
                <a:solidFill>
                  <a:srgbClr val="002774"/>
                </a:solidFill>
              </a:rPr>
              <a:t>4.  Реабилитация площадки размещения зданий.</a:t>
            </a:r>
          </a:p>
          <a:p>
            <a:r>
              <a:rPr lang="ru-RU" sz="1600" b="1" i="1" dirty="0" smtClean="0">
                <a:solidFill>
                  <a:srgbClr val="002774"/>
                </a:solidFill>
              </a:rPr>
              <a:t>5.  Сбор, сортировка, фрагментация, дезактивация металлолома, находящегося на площадке временного хранения.</a:t>
            </a:r>
          </a:p>
          <a:p>
            <a:r>
              <a:rPr lang="ru-RU" sz="1600" b="1" i="1" dirty="0" smtClean="0">
                <a:solidFill>
                  <a:srgbClr val="002774"/>
                </a:solidFill>
              </a:rPr>
              <a:t>6.  Реабилитация площадки временного хранения.</a:t>
            </a:r>
          </a:p>
          <a:p>
            <a:r>
              <a:rPr lang="ru-RU" sz="1600" b="1" i="1" dirty="0" smtClean="0">
                <a:solidFill>
                  <a:srgbClr val="002774"/>
                </a:solidFill>
              </a:rPr>
              <a:t>7.  Обращение с РАО, образующимися при выводе из эксплуатации зданий 802, 804.</a:t>
            </a:r>
          </a:p>
          <a:p>
            <a:endParaRPr lang="ru-RU" sz="1600" i="1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52D3246-3D2F-424B-BE17-63D0B45F22A2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  <p:pic>
        <p:nvPicPr>
          <p:cNvPr id="5" name="Picture 13" descr="logo_AECC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72377" y="255937"/>
            <a:ext cx="1228724" cy="496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819650" y="1076325"/>
            <a:ext cx="3875088" cy="5333999"/>
          </a:xfrm>
        </p:spPr>
        <p:txBody>
          <a:bodyPr/>
          <a:lstStyle/>
          <a:p>
            <a:pPr marL="85725" indent="-85725">
              <a:spcAft>
                <a:spcPts val="0"/>
              </a:spcAft>
              <a:buNone/>
            </a:pPr>
            <a:r>
              <a:rPr lang="ru-RU" sz="1400" dirty="0" smtClean="0"/>
              <a:t>  </a:t>
            </a:r>
          </a:p>
          <a:p>
            <a:pPr marL="85725" indent="-85725">
              <a:spcAft>
                <a:spcPts val="0"/>
              </a:spcAft>
              <a:buNone/>
            </a:pPr>
            <a:r>
              <a:rPr lang="ru-RU" sz="1600" b="1" dirty="0" smtClean="0"/>
              <a:t>1</a:t>
            </a:r>
            <a:r>
              <a:rPr lang="ru-RU" sz="1600" i="1" dirty="0" smtClean="0">
                <a:solidFill>
                  <a:srgbClr val="091D5D"/>
                </a:solidFill>
              </a:rPr>
              <a:t>. </a:t>
            </a:r>
            <a:r>
              <a:rPr lang="ru-RU" sz="1600" b="1" i="1" dirty="0" smtClean="0">
                <a:solidFill>
                  <a:srgbClr val="091D5D"/>
                </a:solidFill>
              </a:rPr>
              <a:t>Загрязненное радионуклидами оборудование, размещенное в зданиях 802, 804 и на территории площадки временного хранения (МОЗРВ).</a:t>
            </a:r>
          </a:p>
          <a:p>
            <a:pPr marL="85725" indent="-85725">
              <a:spcAft>
                <a:spcPts val="0"/>
              </a:spcAft>
              <a:buNone/>
              <a:tabLst>
                <a:tab pos="361950" algn="l"/>
                <a:tab pos="714375" algn="l"/>
              </a:tabLst>
            </a:pPr>
            <a:r>
              <a:rPr lang="ru-RU" sz="1600" b="1" i="1" dirty="0" smtClean="0">
                <a:solidFill>
                  <a:srgbClr val="091D5D"/>
                </a:solidFill>
              </a:rPr>
              <a:t>	2. Отходы строительных </a:t>
            </a:r>
            <a:r>
              <a:rPr lang="ru-RU" sz="1600" b="1" i="1" dirty="0" err="1" smtClean="0">
                <a:solidFill>
                  <a:srgbClr val="091D5D"/>
                </a:solidFill>
              </a:rPr>
              <a:t>матери-алов</a:t>
            </a:r>
            <a:r>
              <a:rPr lang="ru-RU" sz="1600" b="1" i="1" dirty="0" smtClean="0">
                <a:solidFill>
                  <a:srgbClr val="091D5D"/>
                </a:solidFill>
              </a:rPr>
              <a:t>, образовавшиеся от разборки и механической дезактивации строительных конструкций зданий 802, 804.</a:t>
            </a:r>
          </a:p>
          <a:p>
            <a:pPr marL="85725" indent="-85725">
              <a:spcAft>
                <a:spcPts val="0"/>
              </a:spcAft>
              <a:buNone/>
              <a:tabLst>
                <a:tab pos="361950" algn="l"/>
                <a:tab pos="714375" algn="l"/>
              </a:tabLst>
            </a:pPr>
            <a:r>
              <a:rPr lang="ru-RU" sz="1600" b="1" i="1" dirty="0" smtClean="0">
                <a:solidFill>
                  <a:srgbClr val="091D5D"/>
                </a:solidFill>
              </a:rPr>
              <a:t>	3. Грунт, загрязненный радиоактивными веществами, снятый при реабилитации территории площадки временного хранения.</a:t>
            </a:r>
          </a:p>
          <a:p>
            <a:pPr marL="85725" indent="-85725">
              <a:spcAft>
                <a:spcPts val="0"/>
              </a:spcAft>
              <a:buNone/>
              <a:tabLst>
                <a:tab pos="361950" algn="l"/>
                <a:tab pos="714375" algn="l"/>
              </a:tabLst>
            </a:pPr>
            <a:r>
              <a:rPr lang="ru-RU" sz="1600" b="1" i="1" dirty="0" smtClean="0">
                <a:solidFill>
                  <a:srgbClr val="091D5D"/>
                </a:solidFill>
              </a:rPr>
              <a:t>	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52D3246-3D2F-424B-BE17-63D0B45F22A2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tabLst>
                <a:tab pos="447675" algn="l"/>
                <a:tab pos="714375" algn="l"/>
                <a:tab pos="809625" algn="l"/>
              </a:tabLst>
            </a:pPr>
            <a:r>
              <a:rPr lang="ru-RU" sz="2000" dirty="0" smtClean="0">
                <a:solidFill>
                  <a:srgbClr val="091D5D"/>
                </a:solidFill>
              </a:rPr>
              <a:t> </a:t>
            </a:r>
            <a:r>
              <a:rPr lang="ru-RU" sz="2000" dirty="0" smtClean="0">
                <a:solidFill>
                  <a:srgbClr val="002774"/>
                </a:solidFill>
              </a:rPr>
              <a:t>Основные виды РАО и источники их образования </a:t>
            </a:r>
            <a:r>
              <a:rPr lang="ru-RU" sz="2000" dirty="0" smtClean="0">
                <a:solidFill>
                  <a:srgbClr val="091D5D"/>
                </a:solidFill>
              </a:rPr>
              <a:t/>
            </a:r>
            <a:br>
              <a:rPr lang="ru-RU" sz="2000" dirty="0" smtClean="0">
                <a:solidFill>
                  <a:srgbClr val="091D5D"/>
                </a:solidFill>
              </a:rPr>
            </a:br>
            <a:r>
              <a:rPr lang="ru-RU" sz="2000" dirty="0" smtClean="0">
                <a:solidFill>
                  <a:srgbClr val="091D5D"/>
                </a:solidFill>
              </a:rPr>
              <a:t>	</a:t>
            </a:r>
            <a:r>
              <a:rPr lang="ru-RU" sz="2000" dirty="0" smtClean="0">
                <a:solidFill>
                  <a:srgbClr val="002774"/>
                </a:solidFill>
              </a:rPr>
              <a:t>при выводе из эксплуатации зданий 802,804</a:t>
            </a:r>
            <a:endParaRPr lang="ru-RU" sz="2000" dirty="0">
              <a:solidFill>
                <a:srgbClr val="002774"/>
              </a:solidFill>
            </a:endParaRPr>
          </a:p>
        </p:txBody>
      </p:sp>
      <p:pic>
        <p:nvPicPr>
          <p:cNvPr id="6" name="Picture 13" descr="logo_AECC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91450" y="304800"/>
            <a:ext cx="981075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 descr="C:\Users\466564\Desktop\ДЛЯ КИРИЕНКО\DSC_9654.jpg"/>
          <p:cNvPicPr>
            <a:picLocks noChangeAspect="1" noChangeArrowheads="1"/>
          </p:cNvPicPr>
          <p:nvPr/>
        </p:nvPicPr>
        <p:blipFill>
          <a:blip r:embed="rId3" cstate="print"/>
          <a:srcRect l="12152" r="25433"/>
          <a:stretch>
            <a:fillRect/>
          </a:stretch>
        </p:blipFill>
        <p:spPr bwMode="auto">
          <a:xfrm>
            <a:off x="142875" y="1066800"/>
            <a:ext cx="4657725" cy="5324475"/>
          </a:xfrm>
          <a:prstGeom prst="rect">
            <a:avLst/>
          </a:prstGeom>
          <a:noFill/>
        </p:spPr>
      </p:pic>
    </p:spTree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238625" y="1285875"/>
            <a:ext cx="4437063" cy="5086349"/>
          </a:xfrm>
        </p:spPr>
        <p:txBody>
          <a:bodyPr/>
          <a:lstStyle/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ru-RU" sz="1400" dirty="0" smtClean="0"/>
              <a:t>	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52D3246-3D2F-424B-BE17-63D0B45F22A2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 smtClean="0">
                <a:solidFill>
                  <a:srgbClr val="091D5D"/>
                </a:solidFill>
              </a:rPr>
              <a:t> </a:t>
            </a:r>
            <a:r>
              <a:rPr lang="ru-RU" sz="2000" dirty="0" smtClean="0">
                <a:solidFill>
                  <a:srgbClr val="091D5D"/>
                </a:solidFill>
                <a:latin typeface="Arial" pitchFamily="34" charset="0"/>
                <a:cs typeface="Arial" pitchFamily="34" charset="0"/>
              </a:rPr>
              <a:t>Технологические решения по обращению с РАО</a:t>
            </a:r>
            <a:endParaRPr lang="ru-RU" sz="2000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13" descr="logo_AECC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91450" y="304800"/>
            <a:ext cx="981075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0" name="Picture 2" descr="C:\Users\466564\Desktop\ДЛЯ КИРИЕНКО\DSC_9641.jpg"/>
          <p:cNvPicPr>
            <a:picLocks noChangeAspect="1" noChangeArrowheads="1"/>
          </p:cNvPicPr>
          <p:nvPr/>
        </p:nvPicPr>
        <p:blipFill>
          <a:blip r:embed="rId3" cstate="print"/>
          <a:srcRect l="8893" r="41554"/>
          <a:stretch>
            <a:fillRect/>
          </a:stretch>
        </p:blipFill>
        <p:spPr bwMode="auto">
          <a:xfrm>
            <a:off x="123825" y="1028701"/>
            <a:ext cx="4095750" cy="5372100"/>
          </a:xfrm>
          <a:prstGeom prst="rect">
            <a:avLst/>
          </a:prstGeom>
          <a:noFill/>
        </p:spPr>
      </p:pic>
      <p:sp>
        <p:nvSpPr>
          <p:cNvPr id="7" name="Прямоугольник 6"/>
          <p:cNvSpPr/>
          <p:nvPr/>
        </p:nvSpPr>
        <p:spPr>
          <a:xfrm>
            <a:off x="4229099" y="1019175"/>
            <a:ext cx="4714876" cy="93871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indent="-85725">
              <a:spcBef>
                <a:spcPts val="0"/>
              </a:spcBef>
              <a:spcAft>
                <a:spcPts val="0"/>
              </a:spcAft>
              <a:buNone/>
            </a:pPr>
            <a:r>
              <a:rPr lang="ru-RU" dirty="0" smtClean="0"/>
              <a:t> 	</a:t>
            </a:r>
            <a:r>
              <a:rPr lang="ru-RU" i="1" dirty="0" smtClean="0"/>
              <a:t> </a:t>
            </a:r>
            <a:r>
              <a:rPr lang="ru-RU" sz="1400" b="1" i="1" dirty="0" smtClean="0">
                <a:solidFill>
                  <a:srgbClr val="002774"/>
                </a:solidFill>
              </a:rPr>
              <a:t>1. Металлолом, загрязненный </a:t>
            </a:r>
            <a:r>
              <a:rPr lang="ru-RU" sz="1400" b="1" i="1" dirty="0" err="1" smtClean="0">
                <a:solidFill>
                  <a:srgbClr val="002774"/>
                </a:solidFill>
              </a:rPr>
              <a:t>радиоактив-ными</a:t>
            </a:r>
            <a:r>
              <a:rPr lang="ru-RU" sz="1400" b="1" i="1" dirty="0" smtClean="0">
                <a:solidFill>
                  <a:srgbClr val="002774"/>
                </a:solidFill>
              </a:rPr>
              <a:t> веществами: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400" b="1" i="1" dirty="0" smtClean="0">
                <a:solidFill>
                  <a:srgbClr val="002774"/>
                </a:solidFill>
              </a:rPr>
              <a:t>фрагментация;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400" b="1" i="1" dirty="0" smtClean="0">
                <a:solidFill>
                  <a:srgbClr val="002774"/>
                </a:solidFill>
              </a:rPr>
              <a:t> механическая дезактивация </a:t>
            </a:r>
            <a:r>
              <a:rPr lang="ru-RU" sz="1400" b="1" i="1" dirty="0" smtClean="0">
                <a:solidFill>
                  <a:srgbClr val="091D5D"/>
                </a:solidFill>
              </a:rPr>
              <a:t>методом абразивной струйной очистки загрязненных поверхностей (абразивный </a:t>
            </a:r>
            <a:r>
              <a:rPr lang="ru-RU" sz="1400" b="1" i="1" dirty="0" err="1" smtClean="0">
                <a:solidFill>
                  <a:srgbClr val="091D5D"/>
                </a:solidFill>
              </a:rPr>
              <a:t>бластинг</a:t>
            </a:r>
            <a:r>
              <a:rPr lang="ru-RU" sz="1400" b="1" i="1" dirty="0" smtClean="0">
                <a:solidFill>
                  <a:srgbClr val="091D5D"/>
                </a:solidFill>
              </a:rPr>
              <a:t>)</a:t>
            </a:r>
            <a:r>
              <a:rPr lang="ru-RU" sz="1400" b="1" i="1" dirty="0" smtClean="0">
                <a:solidFill>
                  <a:srgbClr val="002774"/>
                </a:solidFill>
              </a:rPr>
              <a:t>;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400" b="1" i="1" dirty="0" smtClean="0">
                <a:solidFill>
                  <a:srgbClr val="002774"/>
                </a:solidFill>
              </a:rPr>
              <a:t> сортировка по загрязнению;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400" b="1" i="1" dirty="0" smtClean="0">
                <a:solidFill>
                  <a:srgbClr val="002774"/>
                </a:solidFill>
              </a:rPr>
              <a:t> контейнеризация;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400" b="1" i="1" dirty="0" smtClean="0">
                <a:solidFill>
                  <a:srgbClr val="002774"/>
                </a:solidFill>
              </a:rPr>
              <a:t> переработка в специализированной </a:t>
            </a:r>
            <a:r>
              <a:rPr lang="ru-RU" sz="1400" b="1" i="1" dirty="0" err="1" smtClean="0">
                <a:solidFill>
                  <a:srgbClr val="002774"/>
                </a:solidFill>
              </a:rPr>
              <a:t>орга-низации</a:t>
            </a:r>
            <a:r>
              <a:rPr lang="ru-RU" sz="1400" b="1" i="1" dirty="0" smtClean="0">
                <a:solidFill>
                  <a:srgbClr val="002774"/>
                </a:solidFill>
              </a:rPr>
              <a:t> и передача на захоронение.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</a:rPr>
              <a:t>    2. Отходы строительных материалов: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400" b="1" i="1" dirty="0" smtClean="0">
                <a:solidFill>
                  <a:srgbClr val="002774"/>
                </a:solidFill>
              </a:rPr>
              <a:t>механическая дезактивация строительных конструкций (</a:t>
            </a:r>
            <a:r>
              <a:rPr lang="ru-RU" sz="1400" b="1" i="1" dirty="0" err="1" smtClean="0">
                <a:solidFill>
                  <a:srgbClr val="002774"/>
                </a:solidFill>
              </a:rPr>
              <a:t>скрайбирование</a:t>
            </a:r>
            <a:r>
              <a:rPr lang="ru-RU" sz="1400" b="1" i="1" dirty="0" smtClean="0">
                <a:solidFill>
                  <a:srgbClr val="002774"/>
                </a:solidFill>
              </a:rPr>
              <a:t>);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400" b="1" i="1" dirty="0" smtClean="0">
                <a:solidFill>
                  <a:srgbClr val="002774"/>
                </a:solidFill>
              </a:rPr>
              <a:t> механизированный сбор;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400" b="1" i="1" dirty="0" smtClean="0">
                <a:solidFill>
                  <a:srgbClr val="002774"/>
                </a:solidFill>
              </a:rPr>
              <a:t>прессование;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400" b="1" i="1" dirty="0" smtClean="0">
                <a:solidFill>
                  <a:srgbClr val="002774"/>
                </a:solidFill>
              </a:rPr>
              <a:t> паспортизация;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400" b="1" i="1" dirty="0" smtClean="0">
                <a:solidFill>
                  <a:srgbClr val="002774"/>
                </a:solidFill>
              </a:rPr>
              <a:t> временное хранение в спец. организации;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400" b="1" i="1" dirty="0" smtClean="0">
                <a:solidFill>
                  <a:srgbClr val="002774"/>
                </a:solidFill>
              </a:rPr>
              <a:t> передача на захоронение.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rgbClr val="002774"/>
                </a:solidFill>
              </a:rPr>
              <a:t>  3. Загрязненный грунт: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400" b="1" i="1" dirty="0" smtClean="0">
                <a:solidFill>
                  <a:srgbClr val="002774"/>
                </a:solidFill>
              </a:rPr>
              <a:t>сбор загрязненного грунта;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400" b="1" i="1" dirty="0" smtClean="0">
                <a:solidFill>
                  <a:srgbClr val="002774"/>
                </a:solidFill>
              </a:rPr>
              <a:t>прессование;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400" b="1" i="1" dirty="0" smtClean="0">
                <a:solidFill>
                  <a:srgbClr val="002774"/>
                </a:solidFill>
              </a:rPr>
              <a:t>паспортизация;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400" b="1" i="1" dirty="0" smtClean="0">
                <a:solidFill>
                  <a:srgbClr val="002774"/>
                </a:solidFill>
              </a:rPr>
              <a:t> временное хранение в спец. организации;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ru-RU" sz="1400" b="1" i="1" dirty="0" smtClean="0">
                <a:solidFill>
                  <a:srgbClr val="002774"/>
                </a:solidFill>
              </a:rPr>
              <a:t> передача на захоронение.</a:t>
            </a:r>
          </a:p>
          <a:p>
            <a:pPr marL="85725" indent="-85725">
              <a:spcBef>
                <a:spcPts val="0"/>
              </a:spcBef>
              <a:spcAft>
                <a:spcPts val="0"/>
              </a:spcAft>
            </a:pPr>
            <a:endParaRPr lang="ru-RU" sz="1400" b="1" dirty="0" smtClean="0">
              <a:solidFill>
                <a:srgbClr val="002774"/>
              </a:solidFill>
            </a:endParaRPr>
          </a:p>
          <a:p>
            <a:pPr marL="85725" indent="-85725">
              <a:spcBef>
                <a:spcPts val="0"/>
              </a:spcBef>
              <a:spcAft>
                <a:spcPts val="0"/>
              </a:spcAft>
            </a:pPr>
            <a:r>
              <a:rPr lang="ru-RU" sz="1400" b="1" dirty="0" smtClean="0">
                <a:solidFill>
                  <a:srgbClr val="002774"/>
                </a:solidFill>
              </a:rPr>
              <a:t>  </a:t>
            </a:r>
          </a:p>
          <a:p>
            <a:pPr marL="85725" indent="95250">
              <a:spcBef>
                <a:spcPts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srgbClr val="002774"/>
                </a:solidFill>
              </a:rPr>
              <a:t>	</a:t>
            </a:r>
          </a:p>
          <a:p>
            <a:pPr marL="85725" indent="-85725" algn="just">
              <a:spcBef>
                <a:spcPts val="0"/>
              </a:spcBef>
              <a:spcAft>
                <a:spcPts val="0"/>
              </a:spcAft>
              <a:buNone/>
            </a:pPr>
            <a:endParaRPr lang="ru-RU" dirty="0" smtClean="0"/>
          </a:p>
          <a:p>
            <a:pPr marL="85725" indent="-85725" algn="just">
              <a:spcBef>
                <a:spcPts val="0"/>
              </a:spcBef>
              <a:spcAft>
                <a:spcPts val="0"/>
              </a:spcAft>
              <a:buNone/>
            </a:pPr>
            <a:endParaRPr lang="ru-RU" dirty="0" smtClean="0"/>
          </a:p>
          <a:p>
            <a:pPr marL="85725" indent="-85725" algn="just">
              <a:spcBef>
                <a:spcPts val="0"/>
              </a:spcBef>
              <a:spcAft>
                <a:spcPts val="0"/>
              </a:spcAft>
              <a:buNone/>
            </a:pPr>
            <a:endParaRPr lang="ru-RU" dirty="0" smtClean="0"/>
          </a:p>
          <a:p>
            <a:pPr marL="85725" indent="-85725" algn="just">
              <a:spcBef>
                <a:spcPts val="0"/>
              </a:spcBef>
              <a:spcAft>
                <a:spcPts val="0"/>
              </a:spcAft>
              <a:buNone/>
            </a:pPr>
            <a:endParaRPr lang="ru-RU" dirty="0" smtClean="0"/>
          </a:p>
          <a:p>
            <a:pPr marL="85725" indent="-85725" algn="just">
              <a:spcBef>
                <a:spcPts val="0"/>
              </a:spcBef>
              <a:spcAft>
                <a:spcPts val="0"/>
              </a:spcAft>
              <a:buNone/>
            </a:pPr>
            <a:endParaRPr lang="ru-RU" dirty="0" smtClean="0"/>
          </a:p>
          <a:p>
            <a:pPr marL="85725" indent="-85725" algn="just">
              <a:spcBef>
                <a:spcPts val="0"/>
              </a:spcBef>
              <a:spcAft>
                <a:spcPts val="0"/>
              </a:spcAft>
              <a:buNone/>
            </a:pPr>
            <a:endParaRPr lang="ru-RU" dirty="0" smtClean="0"/>
          </a:p>
          <a:p>
            <a:pPr marL="85725" indent="-85725" algn="just">
              <a:spcBef>
                <a:spcPts val="0"/>
              </a:spcBef>
              <a:spcAft>
                <a:spcPts val="0"/>
              </a:spcAft>
              <a:buNone/>
            </a:pPr>
            <a:endParaRPr lang="ru-RU" dirty="0" smtClean="0"/>
          </a:p>
          <a:p>
            <a:pPr marL="85725" indent="-85725" algn="just">
              <a:spcBef>
                <a:spcPts val="0"/>
              </a:spcBef>
              <a:spcAft>
                <a:spcPts val="0"/>
              </a:spcAft>
              <a:buNone/>
            </a:pPr>
            <a:endParaRPr lang="ru-RU" dirty="0" smtClean="0"/>
          </a:p>
          <a:p>
            <a:pPr marL="85725" indent="-85725" algn="just">
              <a:spcBef>
                <a:spcPts val="0"/>
              </a:spcBef>
              <a:spcAft>
                <a:spcPts val="0"/>
              </a:spcAft>
              <a:buNone/>
            </a:pPr>
            <a:endParaRPr lang="ru-RU" dirty="0" smtClean="0"/>
          </a:p>
          <a:p>
            <a:pPr marL="85725" indent="-85725" algn="just">
              <a:spcBef>
                <a:spcPts val="0"/>
              </a:spcBef>
              <a:spcAft>
                <a:spcPts val="0"/>
              </a:spcAft>
              <a:buNone/>
            </a:pPr>
            <a:endParaRPr lang="ru-RU" dirty="0" smtClean="0"/>
          </a:p>
          <a:p>
            <a:pPr marL="85725" indent="-85725">
              <a:spcBef>
                <a:spcPts val="0"/>
              </a:spcBef>
              <a:spcAft>
                <a:spcPts val="0"/>
              </a:spcAft>
              <a:buNone/>
            </a:pPr>
            <a:endParaRPr lang="ru-RU" dirty="0" smtClean="0"/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Ep069vA0i5RrWfhGjZ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Ep069vA0i5RrWfhGjZ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Ep069vA0i5RrWfhGjZ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Ep069vA0i5RrWfhGjZ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Ep069vA0i5RrWfhGjZ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Ep069vA0i5RrWfhGjZWw"/>
</p:tagLst>
</file>

<file path=ppt/theme/theme1.xml><?xml version="1.0" encoding="utf-8"?>
<a:theme xmlns:a="http://schemas.openxmlformats.org/drawingml/2006/main" name="a-default">
  <a:themeElements>
    <a:clrScheme name="Серая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36000" rIns="0" rtlCol="0">
        <a:spAutoFit/>
      </a:bodyPr>
      <a:lstStyle>
        <a:defPPr>
          <a:defRPr sz="1000" dirty="0" smtClean="0"/>
        </a:defPPr>
      </a:lstStyle>
    </a:txDef>
  </a:objectDefaults>
  <a:extraClrSchemeLst>
    <a:extraClrScheme>
      <a:clrScheme name="a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5_a-default">
  <a:themeElements>
    <a:clrScheme name="a-defaul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ctr">
          <a:defRPr sz="1200" b="1" dirty="0" smtClean="0"/>
        </a:defPPr>
      </a:lstStyle>
    </a:txDef>
  </a:objectDefaults>
  <a:extraClrSchemeLst>
    <a:extraClrScheme>
      <a:clrScheme name="a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6_a-default">
  <a:themeElements>
    <a:clrScheme name="a-defaul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36000" rIns="0" rtlCol="0">
        <a:spAutoFit/>
      </a:bodyPr>
      <a:lstStyle>
        <a:defPPr>
          <a:defRPr sz="1000" dirty="0" smtClean="0"/>
        </a:defPPr>
      </a:lstStyle>
    </a:txDef>
  </a:objectDefaults>
  <a:extraClrSchemeLst>
    <a:extraClrScheme>
      <a:clrScheme name="a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7_a-default">
  <a:themeElements>
    <a:clrScheme name="a-defaul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8_a-default">
  <a:themeElements>
    <a:clrScheme name="a-defaul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36000" rIns="0" rtlCol="0">
        <a:spAutoFit/>
      </a:bodyPr>
      <a:lstStyle>
        <a:defPPr>
          <a:defRPr sz="1000" dirty="0" smtClean="0"/>
        </a:defPPr>
      </a:lstStyle>
    </a:txDef>
  </a:objectDefaults>
  <a:extraClrSchemeLst>
    <a:extraClrScheme>
      <a:clrScheme name="a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9_a-default">
  <a:themeElements>
    <a:clrScheme name="a-defaul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36000" rIns="0" rtlCol="0">
        <a:spAutoFit/>
      </a:bodyPr>
      <a:lstStyle>
        <a:defPPr>
          <a:defRPr sz="1000" dirty="0" smtClean="0"/>
        </a:defPPr>
      </a:lstStyle>
    </a:txDef>
  </a:objectDefaults>
  <a:extraClrSchemeLst>
    <a:extraClrScheme>
      <a:clrScheme name="a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0_a-default">
  <a:themeElements>
    <a:clrScheme name="a-defaul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rgbClr val="002060"/>
          </a:solidFill>
        </a:ln>
      </a:spPr>
      <a:bodyPr wrap="none" rtlCol="0" anchor="ctr">
        <a:noAutofit/>
      </a:bodyPr>
      <a:lstStyle>
        <a:defPPr algn="ctr">
          <a:defRPr sz="1200" dirty="0" smtClean="0"/>
        </a:defPPr>
      </a:lstStyle>
    </a:spDef>
    <a:lnDef>
      <a:spPr>
        <a:solidFill>
          <a:srgbClr val="549CB5"/>
        </a:solidFill>
        <a:ln w="6350">
          <a:solidFill>
            <a:srgbClr val="002060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>
        <a:noFill/>
      </a:spPr>
      <a:bodyPr wrap="square" lIns="36000" rIns="0" rtlCol="0">
        <a:spAutoFit/>
      </a:bodyPr>
      <a:lstStyle>
        <a:defPPr>
          <a:defRPr sz="1000" dirty="0" smtClean="0"/>
        </a:defPPr>
      </a:lstStyle>
    </a:txDef>
  </a:objectDefaults>
  <a:extraClrSchemeLst>
    <a:extraClrScheme>
      <a:clrScheme name="a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1_a-default">
  <a:themeElements>
    <a:clrScheme name="a-defaul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rgbClr val="002060"/>
          </a:solidFill>
        </a:ln>
      </a:spPr>
      <a:bodyPr wrap="none" rtlCol="0" anchor="ctr">
        <a:noAutofit/>
      </a:bodyPr>
      <a:lstStyle>
        <a:defPPr algn="ctr">
          <a:defRPr sz="1200" dirty="0" smtClean="0"/>
        </a:defPPr>
      </a:lstStyle>
    </a:spDef>
    <a:lnDef>
      <a:spPr>
        <a:solidFill>
          <a:srgbClr val="549CB5"/>
        </a:solidFill>
        <a:ln w="6350">
          <a:solidFill>
            <a:srgbClr val="002060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>
        <a:noFill/>
      </a:spPr>
      <a:bodyPr wrap="square" lIns="36000" rIns="0" rtlCol="0">
        <a:spAutoFit/>
      </a:bodyPr>
      <a:lstStyle>
        <a:defPPr>
          <a:defRPr sz="1000" dirty="0" smtClean="0"/>
        </a:defPPr>
      </a:lstStyle>
    </a:txDef>
  </a:objectDefaults>
  <a:extraClrSchemeLst>
    <a:extraClrScheme>
      <a:clrScheme name="a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2_a-default">
  <a:themeElements>
    <a:clrScheme name="a-defaul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3_a-default">
  <a:themeElements>
    <a:clrScheme name="a-defaul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36000" rIns="0" rtlCol="0">
        <a:spAutoFit/>
      </a:bodyPr>
      <a:lstStyle>
        <a:defPPr>
          <a:defRPr sz="1000" dirty="0" smtClean="0"/>
        </a:defPPr>
      </a:lstStyle>
    </a:txDef>
  </a:objectDefaults>
  <a:extraClrSchemeLst>
    <a:extraClrScheme>
      <a:clrScheme name="a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a-content">
  <a:themeElements>
    <a:clrScheme name="a-conten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conte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conten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conten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a-section33">
  <a:themeElements>
    <a:clrScheme name="a-section33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section3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section3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33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33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33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33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33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a-section31">
  <a:themeElements>
    <a:clrScheme name="a-section31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section3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section3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31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31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31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31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31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a-section32">
  <a:themeElements>
    <a:clrScheme name="a-section32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section3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section3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32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32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32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32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section32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a-default">
  <a:themeElements>
    <a:clrScheme name="a-defaul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a-default">
  <a:themeElements>
    <a:clrScheme name="a-defaul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a-default">
  <a:themeElements>
    <a:clrScheme name="a-defaul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4_a-default">
  <a:themeElements>
    <a:clrScheme name="a-default 6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a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36000" rIns="0" rtlCol="0">
        <a:spAutoFit/>
      </a:bodyPr>
      <a:lstStyle>
        <a:defPPr>
          <a:defRPr sz="1000" dirty="0" smtClean="0"/>
        </a:defPPr>
      </a:lstStyle>
    </a:txDef>
  </a:objectDefaults>
  <a:extraClrSchemeLst>
    <a:extraClrScheme>
      <a:clrScheme name="a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-default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022</TotalTime>
  <Words>1251</Words>
  <Application>Microsoft Office PowerPoint</Application>
  <PresentationFormat>Экран (4:3)</PresentationFormat>
  <Paragraphs>296</Paragraphs>
  <Slides>16</Slides>
  <Notes>4</Notes>
  <HiddenSlides>0</HiddenSlides>
  <MMClips>0</MMClips>
  <ScaleCrop>false</ScaleCrop>
  <HeadingPairs>
    <vt:vector size="4" baseType="variant">
      <vt:variant>
        <vt:lpstr>Тема</vt:lpstr>
      </vt:variant>
      <vt:variant>
        <vt:i4>18</vt:i4>
      </vt:variant>
      <vt:variant>
        <vt:lpstr>Заголовки слайдов</vt:lpstr>
      </vt:variant>
      <vt:variant>
        <vt:i4>16</vt:i4>
      </vt:variant>
    </vt:vector>
  </HeadingPairs>
  <TitlesOfParts>
    <vt:vector size="34" baseType="lpstr">
      <vt:lpstr>a-default</vt:lpstr>
      <vt:lpstr>a-content</vt:lpstr>
      <vt:lpstr>a-section33</vt:lpstr>
      <vt:lpstr>a-section31</vt:lpstr>
      <vt:lpstr>a-section32</vt:lpstr>
      <vt:lpstr>1_a-default</vt:lpstr>
      <vt:lpstr>2_a-default</vt:lpstr>
      <vt:lpstr>3_a-default</vt:lpstr>
      <vt:lpstr>4_a-default</vt:lpstr>
      <vt:lpstr>5_a-default</vt:lpstr>
      <vt:lpstr>6_a-default</vt:lpstr>
      <vt:lpstr>7_a-default</vt:lpstr>
      <vt:lpstr>8_a-default</vt:lpstr>
      <vt:lpstr>9_a-default</vt:lpstr>
      <vt:lpstr>10_a-default</vt:lpstr>
      <vt:lpstr>11_a-default</vt:lpstr>
      <vt:lpstr>12_a-default</vt:lpstr>
      <vt:lpstr>13_a-default</vt:lpstr>
      <vt:lpstr>Слайд 1</vt:lpstr>
      <vt:lpstr>Слайд 2</vt:lpstr>
      <vt:lpstr>Характеристики зданий 802, 804</vt:lpstr>
      <vt:lpstr> Оборудование, размещенное в зданиях 802, 804</vt:lpstr>
      <vt:lpstr>Слайд 5</vt:lpstr>
      <vt:lpstr>Основные направления проведения работ по ВЭ </vt:lpstr>
      <vt:lpstr>Задачи, решаемые в рамках проекта  по выводу из эксплуатации зданий 802 и 804</vt:lpstr>
      <vt:lpstr> Основные виды РАО и источники их образования   при выводе из эксплуатации зданий 802,804</vt:lpstr>
      <vt:lpstr> Технологические решения по обращению с РАО</vt:lpstr>
      <vt:lpstr>Слайд 10</vt:lpstr>
      <vt:lpstr>Слайд 11</vt:lpstr>
      <vt:lpstr>Слайд 12</vt:lpstr>
      <vt:lpstr>Слайд 13</vt:lpstr>
      <vt:lpstr>Проблемы вывода из эксплуатации зданий 802, 804</vt:lpstr>
      <vt:lpstr>Пути решения проблем</vt:lpstr>
      <vt:lpstr>Слайд 16</vt:lpstr>
    </vt:vector>
  </TitlesOfParts>
  <Company>ОАО ТВЭЛ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презентации. (если название очень большое, то его можно писать в три строки)</dc:title>
  <dc:creator>Куликов</dc:creator>
  <cp:lastModifiedBy>466564</cp:lastModifiedBy>
  <cp:revision>6721</cp:revision>
  <dcterms:created xsi:type="dcterms:W3CDTF">2009-10-20T12:45:36Z</dcterms:created>
  <dcterms:modified xsi:type="dcterms:W3CDTF">2012-09-27T10:37:29Z</dcterms:modified>
</cp:coreProperties>
</file>